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4"/>
  </p:notesMasterIdLst>
  <p:sldIdLst>
    <p:sldId id="256" r:id="rId5"/>
    <p:sldId id="271" r:id="rId6"/>
    <p:sldId id="287" r:id="rId7"/>
    <p:sldId id="289" r:id="rId8"/>
    <p:sldId id="293" r:id="rId9"/>
    <p:sldId id="290" r:id="rId10"/>
    <p:sldId id="291" r:id="rId11"/>
    <p:sldId id="292" r:id="rId12"/>
    <p:sldId id="294" r:id="rId13"/>
  </p:sldIdLst>
  <p:sldSz cx="12192000" cy="6858000"/>
  <p:notesSz cx="6858000" cy="9144000"/>
  <p:custDataLst>
    <p:tags r:id="rId1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Slide" id="{CD6DA39D-FA92-B746-8F93-A2557108B62E}">
          <p14:sldIdLst>
            <p14:sldId id="256"/>
          </p14:sldIdLst>
        </p14:section>
        <p14:section name="Main deck" id="{9E535C66-D664-0F4A-9AA7-9CF6D075412E}">
          <p14:sldIdLst>
            <p14:sldId id="271"/>
            <p14:sldId id="287"/>
            <p14:sldId id="289"/>
            <p14:sldId id="293"/>
            <p14:sldId id="290"/>
            <p14:sldId id="291"/>
            <p14:sldId id="292"/>
          </p14:sldIdLst>
        </p14:section>
        <p14:section name="Backup" id="{DB17F9AF-A686-9F47-B78D-8EBAB503825D}">
          <p14:sldIdLst>
            <p14:sldId id="294"/>
          </p14:sldIdLst>
        </p14:section>
      </p14:sectionLst>
    </p:ext>
    <p:ext uri="{EFAFB233-063F-42B5-8137-9DF3F51BA10A}">
      <p15:sldGuideLst xmlns:p15="http://schemas.microsoft.com/office/powerpoint/2012/main">
        <p15:guide id="2" pos="6063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diya, Yash" initials="GY" lastIdx="1" clrIdx="0">
    <p:extLst>
      <p:ext uri="{19B8F6BF-5375-455C-9EA6-DF929625EA0E}">
        <p15:presenceInfo xmlns:p15="http://schemas.microsoft.com/office/powerpoint/2012/main" userId="Gadiya, Yash" providerId="None"/>
      </p:ext>
    </p:extLst>
  </p:cmAuthor>
  <p:cmAuthor id="2" name="Wetzel, Bastian" initials="WB" lastIdx="1" clrIdx="1">
    <p:extLst>
      <p:ext uri="{19B8F6BF-5375-455C-9EA6-DF929625EA0E}">
        <p15:presenceInfo xmlns:p15="http://schemas.microsoft.com/office/powerpoint/2012/main" userId="S::bastian.wetzel@student.unisg.ch::4362b096-2937-499a-b6f3-5eef58910531" providerId="AD"/>
      </p:ext>
    </p:extLst>
  </p:cmAuthor>
  <p:cmAuthor id="3" name="Heyde, Alexander" initials="HA" lastIdx="3" clrIdx="2">
    <p:extLst>
      <p:ext uri="{19B8F6BF-5375-455C-9EA6-DF929625EA0E}">
        <p15:presenceInfo xmlns:p15="http://schemas.microsoft.com/office/powerpoint/2012/main" userId="S::alexander.heyde@student.unisg.ch::5e588052-bc69-40b1-98f2-588e8a84faaf" providerId="AD"/>
      </p:ext>
    </p:extLst>
  </p:cmAuthor>
  <p:cmAuthor id="4" name="Goergen, YvesMaurice" initials="GY" lastIdx="1" clrIdx="3">
    <p:extLst>
      <p:ext uri="{19B8F6BF-5375-455C-9EA6-DF929625EA0E}">
        <p15:presenceInfo xmlns:p15="http://schemas.microsoft.com/office/powerpoint/2012/main" userId="Goergen, YvesMauric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039"/>
    <a:srgbClr val="ECEDED"/>
    <a:srgbClr val="EDEDED"/>
    <a:srgbClr val="F0F0F0"/>
    <a:srgbClr val="F1F2F2"/>
    <a:srgbClr val="F3F3F3"/>
    <a:srgbClr val="F8F8F8"/>
    <a:srgbClr val="E6003A"/>
    <a:srgbClr val="EA4D63"/>
    <a:srgbClr val="E30D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ED6808-6FC7-4BD2-A738-8C6C52603A9C}" v="51" dt="2022-03-24T15:56:17.942"/>
    <p1510:client id="{2F1E63F0-BFEF-0E47-8C78-ED84D1B622D2}" v="2702" dt="2022-03-25T08:29:22.038"/>
    <p1510:client id="{5B915263-626E-3641-A4EB-2A8E1B0B9D4A}" v="5" dt="2022-03-25T08:24:01.878"/>
    <p1510:client id="{90EAF1D7-4697-7349-81AD-AA74F81793E7}" v="11" dt="2022-03-24T09:12:53.304"/>
    <p1510:client id="{D3B7A8C5-F8E5-D413-58A0-F0C6A6189B6A}" v="11" dt="2022-03-25T06:17:44.509"/>
    <p1510:client id="{F6F7B918-7B46-427B-A614-DE57305C1F96}" v="22" dt="2022-03-24T20:24:53.370"/>
    <p1510:client id="{F96DEEB7-0AB7-D149-8202-B38FDDBA97E1}" v="6" dt="2022-03-24T23:57:50.5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6063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ss, KayErik" userId="S::kayerik.jenss@student.unisg.ch::2172a756-aabb-455c-ad6b-1a20a0bb5aa5" providerId="AD" clId="Web-{D3B7A8C5-F8E5-D413-58A0-F0C6A6189B6A}"/>
    <pc:docChg chg="modSld">
      <pc:chgData name="Jenss, KayErik" userId="S::kayerik.jenss@student.unisg.ch::2172a756-aabb-455c-ad6b-1a20a0bb5aa5" providerId="AD" clId="Web-{D3B7A8C5-F8E5-D413-58A0-F0C6A6189B6A}" dt="2022-03-25T06:17:41.868" v="1"/>
      <pc:docMkLst>
        <pc:docMk/>
      </pc:docMkLst>
      <pc:sldChg chg="addSp delSp">
        <pc:chgData name="Jenss, KayErik" userId="S::kayerik.jenss@student.unisg.ch::2172a756-aabb-455c-ad6b-1a20a0bb5aa5" providerId="AD" clId="Web-{D3B7A8C5-F8E5-D413-58A0-F0C6A6189B6A}" dt="2022-03-25T06:17:41.868" v="1"/>
        <pc:sldMkLst>
          <pc:docMk/>
          <pc:sldMk cId="2516800527" sldId="289"/>
        </pc:sldMkLst>
        <pc:spChg chg="add del">
          <ac:chgData name="Jenss, KayErik" userId="S::kayerik.jenss@student.unisg.ch::2172a756-aabb-455c-ad6b-1a20a0bb5aa5" providerId="AD" clId="Web-{D3B7A8C5-F8E5-D413-58A0-F0C6A6189B6A}" dt="2022-03-25T06:17:41.868" v="1"/>
          <ac:spMkLst>
            <pc:docMk/>
            <pc:sldMk cId="2516800527" sldId="289"/>
            <ac:spMk id="2" creationId="{DCD884FD-5EE9-540B-12D0-4499DED82BF1}"/>
          </ac:spMkLst>
        </pc:spChg>
      </pc:sldChg>
    </pc:docChg>
  </pc:docChgLst>
  <pc:docChgLst>
    <pc:chgData name="Jenss, KayErik" userId="S::kayerik.jenss@student.unisg.ch::2172a756-aabb-455c-ad6b-1a20a0bb5aa5" providerId="AD" clId="Web-{08ED6808-6FC7-4BD2-A738-8C6C52603A9C}"/>
    <pc:docChg chg="addSld delSld modSld modSection">
      <pc:chgData name="Jenss, KayErik" userId="S::kayerik.jenss@student.unisg.ch::2172a756-aabb-455c-ad6b-1a20a0bb5aa5" providerId="AD" clId="Web-{08ED6808-6FC7-4BD2-A738-8C6C52603A9C}" dt="2022-03-24T15:56:17.942" v="50"/>
      <pc:docMkLst>
        <pc:docMk/>
      </pc:docMkLst>
      <pc:sldChg chg="addSp delSp modSp add del mod replId modShow">
        <pc:chgData name="Jenss, KayErik" userId="S::kayerik.jenss@student.unisg.ch::2172a756-aabb-455c-ad6b-1a20a0bb5aa5" providerId="AD" clId="Web-{08ED6808-6FC7-4BD2-A738-8C6C52603A9C}" dt="2022-03-24T15:56:17.942" v="50"/>
        <pc:sldMkLst>
          <pc:docMk/>
          <pc:sldMk cId="14776951" sldId="294"/>
        </pc:sldMkLst>
        <pc:spChg chg="del">
          <ac:chgData name="Jenss, KayErik" userId="S::kayerik.jenss@student.unisg.ch::2172a756-aabb-455c-ad6b-1a20a0bb5aa5" providerId="AD" clId="Web-{08ED6808-6FC7-4BD2-A738-8C6C52603A9C}" dt="2022-03-24T15:41:37.813" v="7"/>
          <ac:spMkLst>
            <pc:docMk/>
            <pc:sldMk cId="14776951" sldId="294"/>
            <ac:spMk id="9" creationId="{246B1644-532E-424D-80FA-F9993E5F8E1F}"/>
          </ac:spMkLst>
        </pc:spChg>
        <pc:spChg chg="mod">
          <ac:chgData name="Jenss, KayErik" userId="S::kayerik.jenss@student.unisg.ch::2172a756-aabb-455c-ad6b-1a20a0bb5aa5" providerId="AD" clId="Web-{08ED6808-6FC7-4BD2-A738-8C6C52603A9C}" dt="2022-03-24T15:44:55.786" v="43" actId="1076"/>
          <ac:spMkLst>
            <pc:docMk/>
            <pc:sldMk cId="14776951" sldId="294"/>
            <ac:spMk id="17" creationId="{3E45E5AE-8EF7-DC42-8F0F-09884CAB3FA9}"/>
          </ac:spMkLst>
        </pc:spChg>
        <pc:spChg chg="mod">
          <ac:chgData name="Jenss, KayErik" userId="S::kayerik.jenss@student.unisg.ch::2172a756-aabb-455c-ad6b-1a20a0bb5aa5" providerId="AD" clId="Web-{08ED6808-6FC7-4BD2-A738-8C6C52603A9C}" dt="2022-03-24T15:43:48.019" v="28" actId="1076"/>
          <ac:spMkLst>
            <pc:docMk/>
            <pc:sldMk cId="14776951" sldId="294"/>
            <ac:spMk id="18" creationId="{89F91C8C-82E7-8A4C-B030-713EE7381476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1:34.657" v="6"/>
          <ac:spMkLst>
            <pc:docMk/>
            <pc:sldMk cId="14776951" sldId="294"/>
            <ac:spMk id="19" creationId="{3CF3CAF0-EA4A-4442-8814-9805F09E1422}"/>
          </ac:spMkLst>
        </pc:spChg>
        <pc:spChg chg="mod">
          <ac:chgData name="Jenss, KayErik" userId="S::kayerik.jenss@student.unisg.ch::2172a756-aabb-455c-ad6b-1a20a0bb5aa5" providerId="AD" clId="Web-{08ED6808-6FC7-4BD2-A738-8C6C52603A9C}" dt="2022-03-24T15:43:44.566" v="27" actId="1076"/>
          <ac:spMkLst>
            <pc:docMk/>
            <pc:sldMk cId="14776951" sldId="294"/>
            <ac:spMk id="20" creationId="{F98395A4-57E1-144D-BCBC-F0D4352CFB65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4:00.832" v="34"/>
          <ac:spMkLst>
            <pc:docMk/>
            <pc:sldMk cId="14776951" sldId="294"/>
            <ac:spMk id="21" creationId="{3614531D-4246-B247-BA21-760321818E51}"/>
          </ac:spMkLst>
        </pc:spChg>
        <pc:spChg chg="mod">
          <ac:chgData name="Jenss, KayErik" userId="S::kayerik.jenss@student.unisg.ch::2172a756-aabb-455c-ad6b-1a20a0bb5aa5" providerId="AD" clId="Web-{08ED6808-6FC7-4BD2-A738-8C6C52603A9C}" dt="2022-03-24T15:44:15.316" v="37" actId="1076"/>
          <ac:spMkLst>
            <pc:docMk/>
            <pc:sldMk cId="14776951" sldId="294"/>
            <ac:spMk id="23" creationId="{07371144-0DBB-FF4B-8FB2-551C12906998}"/>
          </ac:spMkLst>
        </pc:spChg>
        <pc:spChg chg="del mod">
          <ac:chgData name="Jenss, KayErik" userId="S::kayerik.jenss@student.unisg.ch::2172a756-aabb-455c-ad6b-1a20a0bb5aa5" providerId="AD" clId="Web-{08ED6808-6FC7-4BD2-A738-8C6C52603A9C}" dt="2022-03-24T15:43:58.629" v="33"/>
          <ac:spMkLst>
            <pc:docMk/>
            <pc:sldMk cId="14776951" sldId="294"/>
            <ac:spMk id="26" creationId="{2A20B8D8-53C4-EF41-91CA-26B5ACAFD0CD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1:40.875" v="8"/>
          <ac:spMkLst>
            <pc:docMk/>
            <pc:sldMk cId="14776951" sldId="294"/>
            <ac:spMk id="27" creationId="{16AC2725-92DC-B64E-A405-332A8F1F61A4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1:41.188" v="9"/>
          <ac:spMkLst>
            <pc:docMk/>
            <pc:sldMk cId="14776951" sldId="294"/>
            <ac:spMk id="28" creationId="{32D9761E-FB24-0F4A-A3E1-B27ECAA34640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1:42.844" v="10"/>
          <ac:spMkLst>
            <pc:docMk/>
            <pc:sldMk cId="14776951" sldId="294"/>
            <ac:spMk id="29" creationId="{82DB8DE8-F227-5042-AC8A-C66E0F89B060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1:44.547" v="11"/>
          <ac:spMkLst>
            <pc:docMk/>
            <pc:sldMk cId="14776951" sldId="294"/>
            <ac:spMk id="30" creationId="{29D7E87D-1D9D-0743-A67A-A58497695EC6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1:46.266" v="12"/>
          <ac:spMkLst>
            <pc:docMk/>
            <pc:sldMk cId="14776951" sldId="294"/>
            <ac:spMk id="31" creationId="{5F82ACF0-3123-754D-9733-F69E31E14F1E}"/>
          </ac:spMkLst>
        </pc:spChg>
        <pc:spChg chg="add mod">
          <ac:chgData name="Jenss, KayErik" userId="S::kayerik.jenss@student.unisg.ch::2172a756-aabb-455c-ad6b-1a20a0bb5aa5" providerId="AD" clId="Web-{08ED6808-6FC7-4BD2-A738-8C6C52603A9C}" dt="2022-03-24T15:42:21.720" v="16" actId="1076"/>
          <ac:spMkLst>
            <pc:docMk/>
            <pc:sldMk cId="14776951" sldId="294"/>
            <ac:spMk id="32" creationId="{F1D1AEF2-5AEF-13F0-8E0D-928A23895DF5}"/>
          </ac:spMkLst>
        </pc:spChg>
        <pc:spChg chg="add mod">
          <ac:chgData name="Jenss, KayErik" userId="S::kayerik.jenss@student.unisg.ch::2172a756-aabb-455c-ad6b-1a20a0bb5aa5" providerId="AD" clId="Web-{08ED6808-6FC7-4BD2-A738-8C6C52603A9C}" dt="2022-03-24T15:44:59.349" v="44" actId="1076"/>
          <ac:spMkLst>
            <pc:docMk/>
            <pc:sldMk cId="14776951" sldId="294"/>
            <ac:spMk id="33" creationId="{F49C0F67-C709-38F8-E410-48159796F5A2}"/>
          </ac:spMkLst>
        </pc:spChg>
        <pc:spChg chg="add del mod">
          <ac:chgData name="Jenss, KayErik" userId="S::kayerik.jenss@student.unisg.ch::2172a756-aabb-455c-ad6b-1a20a0bb5aa5" providerId="AD" clId="Web-{08ED6808-6FC7-4BD2-A738-8C6C52603A9C}" dt="2022-03-24T15:44:04.394" v="36"/>
          <ac:spMkLst>
            <pc:docMk/>
            <pc:sldMk cId="14776951" sldId="294"/>
            <ac:spMk id="34" creationId="{D1EAFBCC-681E-925D-A309-2853AAF60E95}"/>
          </ac:spMkLst>
        </pc:spChg>
        <pc:spChg chg="add mod">
          <ac:chgData name="Jenss, KayErik" userId="S::kayerik.jenss@student.unisg.ch::2172a756-aabb-455c-ad6b-1a20a0bb5aa5" providerId="AD" clId="Web-{08ED6808-6FC7-4BD2-A738-8C6C52603A9C}" dt="2022-03-24T15:44:45.708" v="40" actId="1076"/>
          <ac:spMkLst>
            <pc:docMk/>
            <pc:sldMk cId="14776951" sldId="294"/>
            <ac:spMk id="35" creationId="{388771F3-7FB5-9B54-AB79-A6ED76DCB2B6}"/>
          </ac:spMkLst>
        </pc:spChg>
        <pc:spChg chg="add mod">
          <ac:chgData name="Jenss, KayErik" userId="S::kayerik.jenss@student.unisg.ch::2172a756-aabb-455c-ad6b-1a20a0bb5aa5" providerId="AD" clId="Web-{08ED6808-6FC7-4BD2-A738-8C6C52603A9C}" dt="2022-03-24T15:45:05.224" v="45" actId="1076"/>
          <ac:spMkLst>
            <pc:docMk/>
            <pc:sldMk cId="14776951" sldId="294"/>
            <ac:spMk id="36" creationId="{5F616C95-F76A-2FD0-3BBF-5DFA110DF33F}"/>
          </ac:spMkLst>
        </pc:spChg>
        <pc:spChg chg="del">
          <ac:chgData name="Jenss, KayErik" userId="S::kayerik.jenss@student.unisg.ch::2172a756-aabb-455c-ad6b-1a20a0bb5aa5" providerId="AD" clId="Web-{08ED6808-6FC7-4BD2-A738-8C6C52603A9C}" dt="2022-03-24T15:43:56.816" v="32"/>
          <ac:spMkLst>
            <pc:docMk/>
            <pc:sldMk cId="14776951" sldId="294"/>
            <ac:spMk id="37" creationId="{38C5CDDC-E67A-924E-A311-62FB923A07DF}"/>
          </ac:spMkLst>
        </pc:spChg>
        <pc:spChg chg="mod">
          <ac:chgData name="Jenss, KayErik" userId="S::kayerik.jenss@student.unisg.ch::2172a756-aabb-455c-ad6b-1a20a0bb5aa5" providerId="AD" clId="Web-{08ED6808-6FC7-4BD2-A738-8C6C52603A9C}" dt="2022-03-24T15:44:36.082" v="38" actId="1076"/>
          <ac:spMkLst>
            <pc:docMk/>
            <pc:sldMk cId="14776951" sldId="294"/>
            <ac:spMk id="38" creationId="{5633D717-AFF0-CF43-8D05-A217827169FB}"/>
          </ac:spMkLst>
        </pc:spChg>
        <pc:spChg chg="mod">
          <ac:chgData name="Jenss, KayErik" userId="S::kayerik.jenss@student.unisg.ch::2172a756-aabb-455c-ad6b-1a20a0bb5aa5" providerId="AD" clId="Web-{08ED6808-6FC7-4BD2-A738-8C6C52603A9C}" dt="2022-03-24T15:44:49.552" v="41" actId="1076"/>
          <ac:spMkLst>
            <pc:docMk/>
            <pc:sldMk cId="14776951" sldId="294"/>
            <ac:spMk id="39" creationId="{11E7DB3B-E787-F347-B9F7-4B1020008BEC}"/>
          </ac:spMkLst>
        </pc:spChg>
        <pc:spChg chg="mod">
          <ac:chgData name="Jenss, KayErik" userId="S::kayerik.jenss@student.unisg.ch::2172a756-aabb-455c-ad6b-1a20a0bb5aa5" providerId="AD" clId="Web-{08ED6808-6FC7-4BD2-A738-8C6C52603A9C}" dt="2022-03-24T15:43:54.457" v="31" actId="1076"/>
          <ac:spMkLst>
            <pc:docMk/>
            <pc:sldMk cId="14776951" sldId="294"/>
            <ac:spMk id="40" creationId="{60E8BB46-CB46-FC42-B49B-276CAB145437}"/>
          </ac:spMkLst>
        </pc:spChg>
        <pc:spChg chg="add mod">
          <ac:chgData name="Jenss, KayErik" userId="S::kayerik.jenss@student.unisg.ch::2172a756-aabb-455c-ad6b-1a20a0bb5aa5" providerId="AD" clId="Web-{08ED6808-6FC7-4BD2-A738-8C6C52603A9C}" dt="2022-03-24T15:45:14.693" v="47" actId="1076"/>
          <ac:spMkLst>
            <pc:docMk/>
            <pc:sldMk cId="14776951" sldId="294"/>
            <ac:spMk id="41" creationId="{0CFEFFC6-017B-5BF3-B7DB-A41C5976C1B0}"/>
          </ac:spMkLst>
        </pc:spChg>
        <pc:spChg chg="add mod">
          <ac:chgData name="Jenss, KayErik" userId="S::kayerik.jenss@student.unisg.ch::2172a756-aabb-455c-ad6b-1a20a0bb5aa5" providerId="AD" clId="Web-{08ED6808-6FC7-4BD2-A738-8C6C52603A9C}" dt="2022-03-24T15:45:18.052" v="49" actId="1076"/>
          <ac:spMkLst>
            <pc:docMk/>
            <pc:sldMk cId="14776951" sldId="294"/>
            <ac:spMk id="45" creationId="{16BAA88F-2E28-9A18-0B8B-1E0C8722334C}"/>
          </ac:spMkLst>
        </pc:spChg>
      </pc:sldChg>
    </pc:docChg>
  </pc:docChgLst>
  <pc:docChgLst>
    <pc:chgData name="Goergen, YvesMaurice" userId="44f840f7-7bf2-431d-bc4f-990569b9d0ff" providerId="ADAL" clId="{2F1E63F0-BFEF-0E47-8C78-ED84D1B622D2}"/>
    <pc:docChg chg="undo custSel addSld delSld modSld sldOrd modMainMaster delSection modSection">
      <pc:chgData name="Goergen, YvesMaurice" userId="44f840f7-7bf2-431d-bc4f-990569b9d0ff" providerId="ADAL" clId="{2F1E63F0-BFEF-0E47-8C78-ED84D1B622D2}" dt="2022-03-25T08:29:22.028" v="5310" actId="20577"/>
      <pc:docMkLst>
        <pc:docMk/>
      </pc:docMkLst>
      <pc:sldChg chg="addSp delSp modSp add mod ord modNotesTx">
        <pc:chgData name="Goergen, YvesMaurice" userId="44f840f7-7bf2-431d-bc4f-990569b9d0ff" providerId="ADAL" clId="{2F1E63F0-BFEF-0E47-8C78-ED84D1B622D2}" dt="2022-03-24T19:37:21.839" v="4663" actId="20577"/>
        <pc:sldMkLst>
          <pc:docMk/>
          <pc:sldMk cId="0" sldId="256"/>
        </pc:sldMkLst>
        <pc:spChg chg="add del mod">
          <ac:chgData name="Goergen, YvesMaurice" userId="44f840f7-7bf2-431d-bc4f-990569b9d0ff" providerId="ADAL" clId="{2F1E63F0-BFEF-0E47-8C78-ED84D1B622D2}" dt="2022-03-24T09:33:17.503" v="235"/>
          <ac:spMkLst>
            <pc:docMk/>
            <pc:sldMk cId="0" sldId="256"/>
            <ac:spMk id="2" creationId="{F677A582-6727-6B46-BCAC-018008F460C8}"/>
          </ac:spMkLst>
        </pc:spChg>
        <pc:spChg chg="add del mod">
          <ac:chgData name="Goergen, YvesMaurice" userId="44f840f7-7bf2-431d-bc4f-990569b9d0ff" providerId="ADAL" clId="{2F1E63F0-BFEF-0E47-8C78-ED84D1B622D2}" dt="2022-03-24T09:33:28.585" v="237" actId="478"/>
          <ac:spMkLst>
            <pc:docMk/>
            <pc:sldMk cId="0" sldId="256"/>
            <ac:spMk id="3" creationId="{C48C16C0-4F73-DD45-B054-C38D1C08B1D0}"/>
          </ac:spMkLst>
        </pc:spChg>
        <pc:spChg chg="add del mod">
          <ac:chgData name="Goergen, YvesMaurice" userId="44f840f7-7bf2-431d-bc4f-990569b9d0ff" providerId="ADAL" clId="{2F1E63F0-BFEF-0E47-8C78-ED84D1B622D2}" dt="2022-03-24T09:35:05.097" v="260"/>
          <ac:spMkLst>
            <pc:docMk/>
            <pc:sldMk cId="0" sldId="256"/>
            <ac:spMk id="4" creationId="{B25A39A7-AB3E-EC4A-9E81-DDDA919E6BCA}"/>
          </ac:spMkLst>
        </pc:spChg>
        <pc:spChg chg="mod">
          <ac:chgData name="Goergen, YvesMaurice" userId="44f840f7-7bf2-431d-bc4f-990569b9d0ff" providerId="ADAL" clId="{2F1E63F0-BFEF-0E47-8C78-ED84D1B622D2}" dt="2022-03-24T19:37:21.839" v="4663" actId="20577"/>
          <ac:spMkLst>
            <pc:docMk/>
            <pc:sldMk cId="0" sldId="256"/>
            <ac:spMk id="63" creationId="{00000000-0000-0000-0000-000000000000}"/>
          </ac:spMkLst>
        </pc:spChg>
      </pc:sldChg>
      <pc:sldChg chg="del">
        <pc:chgData name="Goergen, YvesMaurice" userId="44f840f7-7bf2-431d-bc4f-990569b9d0ff" providerId="ADAL" clId="{2F1E63F0-BFEF-0E47-8C78-ED84D1B622D2}" dt="2022-03-24T09:22:21.255" v="94" actId="18676"/>
        <pc:sldMkLst>
          <pc:docMk/>
          <pc:sldMk cId="2104685010" sldId="270"/>
        </pc:sldMkLst>
      </pc:sldChg>
      <pc:sldChg chg="addSp delSp modSp mod">
        <pc:chgData name="Goergen, YvesMaurice" userId="44f840f7-7bf2-431d-bc4f-990569b9d0ff" providerId="ADAL" clId="{2F1E63F0-BFEF-0E47-8C78-ED84D1B622D2}" dt="2022-03-24T14:24:45.273" v="2612" actId="207"/>
        <pc:sldMkLst>
          <pc:docMk/>
          <pc:sldMk cId="4043669610" sldId="271"/>
        </pc:sldMkLst>
        <pc:spChg chg="mod">
          <ac:chgData name="Goergen, YvesMaurice" userId="44f840f7-7bf2-431d-bc4f-990569b9d0ff" providerId="ADAL" clId="{2F1E63F0-BFEF-0E47-8C78-ED84D1B622D2}" dt="2022-03-24T14:24:45.273" v="2612" actId="207"/>
          <ac:spMkLst>
            <pc:docMk/>
            <pc:sldMk cId="4043669610" sldId="271"/>
            <ac:spMk id="3" creationId="{5CE6EAB6-127A-254D-B707-3629D15F4B1C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" creationId="{BBEB27B5-9D40-4F09-9408-963731D9CC4D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9" creationId="{59DD1CE3-E2A7-4225-9E02-6A1A4393D4FA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10" creationId="{6F316F47-0EE6-4B40-9381-A4E76B86FD2C}"/>
          </ac:spMkLst>
        </pc:spChg>
        <pc:spChg chg="add del mod">
          <ac:chgData name="Goergen, YvesMaurice" userId="44f840f7-7bf2-431d-bc4f-990569b9d0ff" providerId="ADAL" clId="{2F1E63F0-BFEF-0E47-8C78-ED84D1B622D2}" dt="2022-03-24T09:20:31.760" v="37"/>
          <ac:spMkLst>
            <pc:docMk/>
            <pc:sldMk cId="4043669610" sldId="271"/>
            <ac:spMk id="11" creationId="{BE2FAD9B-CCF7-1A4D-8EC7-B66D3DD15CF0}"/>
          </ac:spMkLst>
        </pc:spChg>
        <pc:spChg chg="add del mod">
          <ac:chgData name="Goergen, YvesMaurice" userId="44f840f7-7bf2-431d-bc4f-990569b9d0ff" providerId="ADAL" clId="{2F1E63F0-BFEF-0E47-8C78-ED84D1B622D2}" dt="2022-03-24T10:03:56.571" v="308"/>
          <ac:spMkLst>
            <pc:docMk/>
            <pc:sldMk cId="4043669610" sldId="271"/>
            <ac:spMk id="13" creationId="{14159D87-58EF-E24A-A513-92DA5B112D8E}"/>
          </ac:spMkLst>
        </pc:spChg>
        <pc:spChg chg="add del mod">
          <ac:chgData name="Goergen, YvesMaurice" userId="44f840f7-7bf2-431d-bc4f-990569b9d0ff" providerId="ADAL" clId="{2F1E63F0-BFEF-0E47-8C78-ED84D1B622D2}" dt="2022-03-24T10:05:27.737" v="320"/>
          <ac:spMkLst>
            <pc:docMk/>
            <pc:sldMk cId="4043669610" sldId="271"/>
            <ac:spMk id="14" creationId="{9E7EEDCC-1068-D44B-BE48-2F50440532DB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15" creationId="{3C2FC333-E48D-4897-89AA-CD42C1124CBF}"/>
          </ac:spMkLst>
        </pc:spChg>
        <pc:spChg chg="add del mod">
          <ac:chgData name="Goergen, YvesMaurice" userId="44f840f7-7bf2-431d-bc4f-990569b9d0ff" providerId="ADAL" clId="{2F1E63F0-BFEF-0E47-8C78-ED84D1B622D2}" dt="2022-03-24T10:05:28.799" v="322"/>
          <ac:spMkLst>
            <pc:docMk/>
            <pc:sldMk cId="4043669610" sldId="271"/>
            <ac:spMk id="16" creationId="{4982654B-1F64-CA45-98A3-859B5B395F62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20" creationId="{A5C0D632-4943-47AF-AA44-5A88631B32C3}"/>
          </ac:spMkLst>
        </pc:spChg>
        <pc:spChg chg="del">
          <ac:chgData name="Goergen, YvesMaurice" userId="44f840f7-7bf2-431d-bc4f-990569b9d0ff" providerId="ADAL" clId="{2F1E63F0-BFEF-0E47-8C78-ED84D1B622D2}" dt="2022-03-24T09:20:40.323" v="43" actId="478"/>
          <ac:spMkLst>
            <pc:docMk/>
            <pc:sldMk cId="4043669610" sldId="271"/>
            <ac:spMk id="27" creationId="{D59B6495-45C4-4215-86DD-57345F2C12FD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28" creationId="{6E08711A-297D-4970-925E-841E928CB2E1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30" creationId="{C5A4AFE5-6AF7-408C-8016-CAF51B1C329F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35" creationId="{0D5D8481-1CF1-4AB4-975E-96E2F932C398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41" creationId="{98A3E98D-271C-4130-BCBD-2613F4BA7589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42" creationId="{1EE86554-3FA3-4A31-A2BD-B85EFC964FD6}"/>
          </ac:spMkLst>
        </pc:spChg>
        <pc:spChg chg="mod">
          <ac:chgData name="Goergen, YvesMaurice" userId="44f840f7-7bf2-431d-bc4f-990569b9d0ff" providerId="ADAL" clId="{2F1E63F0-BFEF-0E47-8C78-ED84D1B622D2}" dt="2022-03-24T11:34:21.623" v="636" actId="207"/>
          <ac:spMkLst>
            <pc:docMk/>
            <pc:sldMk cId="4043669610" sldId="271"/>
            <ac:spMk id="47" creationId="{4D51A046-F98E-44A7-ADD1-AEB3FFD4BD60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52" creationId="{5F657E0B-94EB-41F4-B934-61F1075439D6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56" creationId="{6E0EF456-DFE3-4C67-983D-7734C9A0A1A5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57" creationId="{CB40B577-5A59-4A24-8FFB-F59A463DEEFC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58" creationId="{579759BA-5A31-4F06-997E-604F388C53A1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59" creationId="{104CA69C-B6DA-4F21-83CB-769E4232EF12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0" creationId="{440CD85C-19E6-4048-819B-A99A291B0E33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1" creationId="{71CF1529-3EFB-4FD0-BF99-1AF23C2EA7E4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2" creationId="{5987ACF8-CBC8-4F43-9602-8A89B9F8B88B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3" creationId="{C37263C8-66D0-4134-A68F-3F353B25B1FD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4" creationId="{71EDFD91-90AC-4C3C-8CA2-A055BFFFB34C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5" creationId="{DAC7412B-63EF-413C-A031-070975AA01F5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6" creationId="{632880FF-96F5-4E9B-9D0B-F00FCED29811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7" creationId="{0C4D80E8-2DEB-428C-AD9E-99CB77AA7075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68" creationId="{A767D327-AAE6-4631-8E60-C692F1A1BBC2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70" creationId="{8FADD44B-EA8E-4634-8F1B-75431B4AF41A}"/>
          </ac:spMkLst>
        </pc:spChg>
        <pc:spChg chg="add mod">
          <ac:chgData name="Goergen, YvesMaurice" userId="44f840f7-7bf2-431d-bc4f-990569b9d0ff" providerId="ADAL" clId="{2F1E63F0-BFEF-0E47-8C78-ED84D1B622D2}" dt="2022-03-24T11:34:37.406" v="642" actId="113"/>
          <ac:spMkLst>
            <pc:docMk/>
            <pc:sldMk cId="4043669610" sldId="271"/>
            <ac:spMk id="71" creationId="{9D336279-0FB6-E140-8830-F96B6CB93A1B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72" creationId="{95DDF833-D67F-4179-9E23-A93E1A736801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73" creationId="{DA674894-822C-4A3C-908B-E3E6D7EC5713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74" creationId="{CD262D43-C408-46A0-AD11-BCBAF26D3224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75" creationId="{74187BBB-5E11-432A-8EED-5EF02268B49E}"/>
          </ac:spMkLst>
        </pc:spChg>
        <pc:spChg chg="add mod">
          <ac:chgData name="Goergen, YvesMaurice" userId="44f840f7-7bf2-431d-bc4f-990569b9d0ff" providerId="ADAL" clId="{2F1E63F0-BFEF-0E47-8C78-ED84D1B622D2}" dt="2022-03-24T11:34:40.812" v="643" actId="207"/>
          <ac:spMkLst>
            <pc:docMk/>
            <pc:sldMk cId="4043669610" sldId="271"/>
            <ac:spMk id="76" creationId="{D51EA024-25BF-A749-994C-D6304F005390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82" creationId="{94970455-506C-47FE-9A10-758661E55B35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83" creationId="{F80F2BF8-8EFE-41D3-BBA2-A74705F5A5E6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84" creationId="{3FF0664D-7685-4BD1-BF3B-5C868E6ABB41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85" creationId="{2657D6B3-75D6-4714-9D2E-9AB0E11D2059}"/>
          </ac:spMkLst>
        </pc:spChg>
        <pc:spChg chg="del">
          <ac:chgData name="Goergen, YvesMaurice" userId="44f840f7-7bf2-431d-bc4f-990569b9d0ff" providerId="ADAL" clId="{2F1E63F0-BFEF-0E47-8C78-ED84D1B622D2}" dt="2022-03-24T09:20:33.501" v="38" actId="478"/>
          <ac:spMkLst>
            <pc:docMk/>
            <pc:sldMk cId="4043669610" sldId="271"/>
            <ac:spMk id="88" creationId="{CDDEE916-B8B5-45FE-9E77-7D5D383A534F}"/>
          </ac:spMkLst>
        </pc:spChg>
        <pc:grpChg chg="del">
          <ac:chgData name="Goergen, YvesMaurice" userId="44f840f7-7bf2-431d-bc4f-990569b9d0ff" providerId="ADAL" clId="{2F1E63F0-BFEF-0E47-8C78-ED84D1B622D2}" dt="2022-03-24T09:20:33.501" v="38" actId="478"/>
          <ac:grpSpMkLst>
            <pc:docMk/>
            <pc:sldMk cId="4043669610" sldId="271"/>
            <ac:grpSpMk id="2" creationId="{E6428F98-B87A-4052-894E-BD0636CC4F68}"/>
          </ac:grpSpMkLst>
        </pc:grpChg>
        <pc:grpChg chg="del">
          <ac:chgData name="Goergen, YvesMaurice" userId="44f840f7-7bf2-431d-bc4f-990569b9d0ff" providerId="ADAL" clId="{2F1E63F0-BFEF-0E47-8C78-ED84D1B622D2}" dt="2022-03-24T09:20:33.501" v="38" actId="478"/>
          <ac:grpSpMkLst>
            <pc:docMk/>
            <pc:sldMk cId="4043669610" sldId="271"/>
            <ac:grpSpMk id="12" creationId="{91B7B83C-9172-4619-9FFE-D4F70BC56792}"/>
          </ac:grpSpMkLst>
        </pc:grpChg>
        <pc:graphicFrameChg chg="del">
          <ac:chgData name="Goergen, YvesMaurice" userId="44f840f7-7bf2-431d-bc4f-990569b9d0ff" providerId="ADAL" clId="{2F1E63F0-BFEF-0E47-8C78-ED84D1B622D2}" dt="2022-03-24T09:20:33.501" v="38" actId="478"/>
          <ac:graphicFrameMkLst>
            <pc:docMk/>
            <pc:sldMk cId="4043669610" sldId="271"/>
            <ac:graphicFrameMk id="69" creationId="{D59E0403-2AD6-41B7-BAA0-7C526BC64D07}"/>
          </ac:graphicFrameMkLst>
        </pc:graphicFrameChg>
        <pc:graphicFrameChg chg="del">
          <ac:chgData name="Goergen, YvesMaurice" userId="44f840f7-7bf2-431d-bc4f-990569b9d0ff" providerId="ADAL" clId="{2F1E63F0-BFEF-0E47-8C78-ED84D1B622D2}" dt="2022-03-24T09:20:33.501" v="38" actId="478"/>
          <ac:graphicFrameMkLst>
            <pc:docMk/>
            <pc:sldMk cId="4043669610" sldId="271"/>
            <ac:graphicFrameMk id="81" creationId="{917464B3-290D-4B6E-8025-BBD938FF127B}"/>
          </ac:graphicFrameMkLst>
        </pc:graphicFrame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4" creationId="{89E01DBC-14F2-4AEE-AFF8-2B38B13DF8C5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5" creationId="{256A04A0-15C6-4CD5-9EA8-66443D6DFAB8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39" creationId="{670A6C3C-64A9-4645-83A5-B5F7FBB747A7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40" creationId="{35818BD2-1F5A-41F2-82C2-42DC1C47FBD7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46" creationId="{64D480FB-7104-4F73-A9DA-C24E4644596E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49" creationId="{47EC01AC-0C37-439B-BAEF-049F3CE4809D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53" creationId="{5685417E-53A2-4AAA-BF6B-684326E90D00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54" creationId="{33A6533E-54D1-46B1-92D9-93D3A0119879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86" creationId="{4F95E85C-CCFD-4189-91CD-043F86509DAA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87" creationId="{33C0A3D0-F141-4CA0-9D84-819257DAC5FF}"/>
          </ac:picMkLst>
        </pc:picChg>
        <pc:picChg chg="del">
          <ac:chgData name="Goergen, YvesMaurice" userId="44f840f7-7bf2-431d-bc4f-990569b9d0ff" providerId="ADAL" clId="{2F1E63F0-BFEF-0E47-8C78-ED84D1B622D2}" dt="2022-03-24T09:20:33.501" v="38" actId="478"/>
          <ac:picMkLst>
            <pc:docMk/>
            <pc:sldMk cId="4043669610" sldId="271"/>
            <ac:picMk id="1026" creationId="{4A562547-6CF7-4A99-90AF-972B4F0023E2}"/>
          </ac:picMkLst>
        </pc:picChg>
        <pc:cxnChg chg="del">
          <ac:chgData name="Goergen, YvesMaurice" userId="44f840f7-7bf2-431d-bc4f-990569b9d0ff" providerId="ADAL" clId="{2F1E63F0-BFEF-0E47-8C78-ED84D1B622D2}" dt="2022-03-24T09:20:33.501" v="38" actId="478"/>
          <ac:cxnSpMkLst>
            <pc:docMk/>
            <pc:sldMk cId="4043669610" sldId="271"/>
            <ac:cxnSpMk id="7" creationId="{E496D28C-13D6-4B21-AD0D-D6B15B623B59}"/>
          </ac:cxnSpMkLst>
        </pc:cxnChg>
        <pc:cxnChg chg="del">
          <ac:chgData name="Goergen, YvesMaurice" userId="44f840f7-7bf2-431d-bc4f-990569b9d0ff" providerId="ADAL" clId="{2F1E63F0-BFEF-0E47-8C78-ED84D1B622D2}" dt="2022-03-24T09:20:33.501" v="38" actId="478"/>
          <ac:cxnSpMkLst>
            <pc:docMk/>
            <pc:sldMk cId="4043669610" sldId="271"/>
            <ac:cxnSpMk id="8" creationId="{AE0C5ED4-8A58-42B1-9EC6-13F39AE0FFA9}"/>
          </ac:cxnSpMkLst>
        </pc:cxnChg>
        <pc:cxnChg chg="del">
          <ac:chgData name="Goergen, YvesMaurice" userId="44f840f7-7bf2-431d-bc4f-990569b9d0ff" providerId="ADAL" clId="{2F1E63F0-BFEF-0E47-8C78-ED84D1B622D2}" dt="2022-03-24T09:20:33.501" v="38" actId="478"/>
          <ac:cxnSpMkLst>
            <pc:docMk/>
            <pc:sldMk cId="4043669610" sldId="271"/>
            <ac:cxnSpMk id="50" creationId="{EAA42E3E-F20C-4789-BDD3-1394B447F42B}"/>
          </ac:cxnSpMkLst>
        </pc:cxnChg>
        <pc:cxnChg chg="del">
          <ac:chgData name="Goergen, YvesMaurice" userId="44f840f7-7bf2-431d-bc4f-990569b9d0ff" providerId="ADAL" clId="{2F1E63F0-BFEF-0E47-8C78-ED84D1B622D2}" dt="2022-03-24T09:20:33.501" v="38" actId="478"/>
          <ac:cxnSpMkLst>
            <pc:docMk/>
            <pc:sldMk cId="4043669610" sldId="271"/>
            <ac:cxnSpMk id="51" creationId="{509A73B9-4F1A-4C8E-A690-7BDD02E85A4B}"/>
          </ac:cxnSpMkLst>
        </pc:cxnChg>
        <pc:cxnChg chg="del">
          <ac:chgData name="Goergen, YvesMaurice" userId="44f840f7-7bf2-431d-bc4f-990569b9d0ff" providerId="ADAL" clId="{2F1E63F0-BFEF-0E47-8C78-ED84D1B622D2}" dt="2022-03-24T09:20:33.501" v="38" actId="478"/>
          <ac:cxnSpMkLst>
            <pc:docMk/>
            <pc:sldMk cId="4043669610" sldId="271"/>
            <ac:cxnSpMk id="55" creationId="{E0343977-7635-4062-9C1C-E97E9A045669}"/>
          </ac:cxnSpMkLst>
        </pc:cxnChg>
      </pc:sldChg>
      <pc:sldChg chg="delSp modSp del mod">
        <pc:chgData name="Goergen, YvesMaurice" userId="44f840f7-7bf2-431d-bc4f-990569b9d0ff" providerId="ADAL" clId="{2F1E63F0-BFEF-0E47-8C78-ED84D1B622D2}" dt="2022-03-24T09:22:16.855" v="92" actId="2696"/>
        <pc:sldMkLst>
          <pc:docMk/>
          <pc:sldMk cId="1511337275" sldId="272"/>
        </pc:sldMkLst>
        <pc:spChg chg="mod">
          <ac:chgData name="Goergen, YvesMaurice" userId="44f840f7-7bf2-431d-bc4f-990569b9d0ff" providerId="ADAL" clId="{2F1E63F0-BFEF-0E47-8C78-ED84D1B622D2}" dt="2022-03-24T09:21:38.959" v="85" actId="20577"/>
          <ac:spMkLst>
            <pc:docMk/>
            <pc:sldMk cId="1511337275" sldId="272"/>
            <ac:spMk id="2" creationId="{33A6D031-C09C-6F4E-A1AF-F52594DD8266}"/>
          </ac:spMkLst>
        </pc:spChg>
        <pc:spChg chg="del">
          <ac:chgData name="Goergen, YvesMaurice" userId="44f840f7-7bf2-431d-bc4f-990569b9d0ff" providerId="ADAL" clId="{2F1E63F0-BFEF-0E47-8C78-ED84D1B622D2}" dt="2022-03-24T09:21:52.328" v="87" actId="478"/>
          <ac:spMkLst>
            <pc:docMk/>
            <pc:sldMk cId="1511337275" sldId="272"/>
            <ac:spMk id="7" creationId="{F584E572-C232-4F2D-A030-BBD380CF9A5D}"/>
          </ac:spMkLst>
        </pc:spChg>
        <pc:spChg chg="del">
          <ac:chgData name="Goergen, YvesMaurice" userId="44f840f7-7bf2-431d-bc4f-990569b9d0ff" providerId="ADAL" clId="{2F1E63F0-BFEF-0E47-8C78-ED84D1B622D2}" dt="2022-03-24T09:21:52.328" v="87" actId="478"/>
          <ac:spMkLst>
            <pc:docMk/>
            <pc:sldMk cId="1511337275" sldId="272"/>
            <ac:spMk id="10" creationId="{CD6018C9-D68A-4E2B-9B49-0A3F516F7836}"/>
          </ac:spMkLst>
        </pc:spChg>
        <pc:spChg chg="del">
          <ac:chgData name="Goergen, YvesMaurice" userId="44f840f7-7bf2-431d-bc4f-990569b9d0ff" providerId="ADAL" clId="{2F1E63F0-BFEF-0E47-8C78-ED84D1B622D2}" dt="2022-03-24T09:21:52.328" v="87" actId="478"/>
          <ac:spMkLst>
            <pc:docMk/>
            <pc:sldMk cId="1511337275" sldId="272"/>
            <ac:spMk id="14" creationId="{A7DB3D50-C085-423C-9219-A14AABE7F508}"/>
          </ac:spMkLst>
        </pc:spChg>
        <pc:spChg chg="del">
          <ac:chgData name="Goergen, YvesMaurice" userId="44f840f7-7bf2-431d-bc4f-990569b9d0ff" providerId="ADAL" clId="{2F1E63F0-BFEF-0E47-8C78-ED84D1B622D2}" dt="2022-03-24T09:21:52.328" v="87" actId="478"/>
          <ac:spMkLst>
            <pc:docMk/>
            <pc:sldMk cId="1511337275" sldId="272"/>
            <ac:spMk id="15" creationId="{500657C7-8FD3-4E42-B3A1-0BC22EEA5BBE}"/>
          </ac:spMkLst>
        </pc:spChg>
        <pc:spChg chg="del">
          <ac:chgData name="Goergen, YvesMaurice" userId="44f840f7-7bf2-431d-bc4f-990569b9d0ff" providerId="ADAL" clId="{2F1E63F0-BFEF-0E47-8C78-ED84D1B622D2}" dt="2022-03-24T09:21:52.328" v="87" actId="478"/>
          <ac:spMkLst>
            <pc:docMk/>
            <pc:sldMk cId="1511337275" sldId="272"/>
            <ac:spMk id="19" creationId="{CE3FB7B3-14A5-4C7E-967D-4E7E25C37D6C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20" creationId="{21EA01F2-E619-4F93-86F1-16C6376EE5F8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22" creationId="{CF99BF38-8165-4CC1-80A3-0F7A082EAFD9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33" creationId="{7CC0D659-3475-4D0D-A0AC-E53F6237ED75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34" creationId="{0C84095A-679C-46B0-A7E8-6BD9FD8DAA6F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38" creationId="{86B6984E-FC31-4503-B9DC-3A43CC2A9DF1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39" creationId="{BF1418B3-0B45-4173-A2F8-E52380B34C5A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40" creationId="{1A96A8CC-F0B1-4CD8-8220-B36343BA6176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41" creationId="{9AAA04E1-7E21-4336-902A-A775A1C53497}"/>
          </ac:spMkLst>
        </pc:spChg>
        <pc:spChg chg="del">
          <ac:chgData name="Goergen, YvesMaurice" userId="44f840f7-7bf2-431d-bc4f-990569b9d0ff" providerId="ADAL" clId="{2F1E63F0-BFEF-0E47-8C78-ED84D1B622D2}" dt="2022-03-24T09:21:42.845" v="86" actId="478"/>
          <ac:spMkLst>
            <pc:docMk/>
            <pc:sldMk cId="1511337275" sldId="272"/>
            <ac:spMk id="42" creationId="{F2DD3681-CBCC-45CD-821D-0C4832CAC859}"/>
          </ac:spMkLst>
        </pc:spChg>
        <pc:picChg chg="del">
          <ac:chgData name="Goergen, YvesMaurice" userId="44f840f7-7bf2-431d-bc4f-990569b9d0ff" providerId="ADAL" clId="{2F1E63F0-BFEF-0E47-8C78-ED84D1B622D2}" dt="2022-03-24T09:21:52.328" v="87" actId="478"/>
          <ac:picMkLst>
            <pc:docMk/>
            <pc:sldMk cId="1511337275" sldId="272"/>
            <ac:picMk id="8" creationId="{EBB9653B-0047-4C11-B3A5-32F35A8B3A8A}"/>
          </ac:picMkLst>
        </pc:picChg>
        <pc:picChg chg="del">
          <ac:chgData name="Goergen, YvesMaurice" userId="44f840f7-7bf2-431d-bc4f-990569b9d0ff" providerId="ADAL" clId="{2F1E63F0-BFEF-0E47-8C78-ED84D1B622D2}" dt="2022-03-24T09:21:54.546" v="88" actId="478"/>
          <ac:picMkLst>
            <pc:docMk/>
            <pc:sldMk cId="1511337275" sldId="272"/>
            <ac:picMk id="11" creationId="{65610651-3324-4AF5-BB73-C548A09FB45F}"/>
          </ac:picMkLst>
        </pc:picChg>
        <pc:cxnChg chg="del">
          <ac:chgData name="Goergen, YvesMaurice" userId="44f840f7-7bf2-431d-bc4f-990569b9d0ff" providerId="ADAL" clId="{2F1E63F0-BFEF-0E47-8C78-ED84D1B622D2}" dt="2022-03-24T09:21:52.328" v="87" actId="478"/>
          <ac:cxnSpMkLst>
            <pc:docMk/>
            <pc:sldMk cId="1511337275" sldId="272"/>
            <ac:cxnSpMk id="27" creationId="{87A65497-AD48-45FA-AE5A-8DC10056B5F2}"/>
          </ac:cxnSpMkLst>
        </pc:cxnChg>
        <pc:cxnChg chg="del">
          <ac:chgData name="Goergen, YvesMaurice" userId="44f840f7-7bf2-431d-bc4f-990569b9d0ff" providerId="ADAL" clId="{2F1E63F0-BFEF-0E47-8C78-ED84D1B622D2}" dt="2022-03-24T09:21:52.328" v="87" actId="478"/>
          <ac:cxnSpMkLst>
            <pc:docMk/>
            <pc:sldMk cId="1511337275" sldId="272"/>
            <ac:cxnSpMk id="29" creationId="{F1B2BE6C-B100-4AE0-8F5D-D5B2BD84A222}"/>
          </ac:cxnSpMkLst>
        </pc:cxnChg>
        <pc:cxnChg chg="del">
          <ac:chgData name="Goergen, YvesMaurice" userId="44f840f7-7bf2-431d-bc4f-990569b9d0ff" providerId="ADAL" clId="{2F1E63F0-BFEF-0E47-8C78-ED84D1B622D2}" dt="2022-03-24T09:21:52.328" v="87" actId="478"/>
          <ac:cxnSpMkLst>
            <pc:docMk/>
            <pc:sldMk cId="1511337275" sldId="272"/>
            <ac:cxnSpMk id="30" creationId="{9250801C-DF3A-468A-A687-786045011DFC}"/>
          </ac:cxnSpMkLst>
        </pc:cxnChg>
        <pc:cxnChg chg="del">
          <ac:chgData name="Goergen, YvesMaurice" userId="44f840f7-7bf2-431d-bc4f-990569b9d0ff" providerId="ADAL" clId="{2F1E63F0-BFEF-0E47-8C78-ED84D1B622D2}" dt="2022-03-24T09:21:52.328" v="87" actId="478"/>
          <ac:cxnSpMkLst>
            <pc:docMk/>
            <pc:sldMk cId="1511337275" sldId="272"/>
            <ac:cxnSpMk id="31" creationId="{9B43BD2C-DB5D-4D39-BC95-6C2028CB5222}"/>
          </ac:cxnSpMkLst>
        </pc:cxnChg>
      </pc:sldChg>
      <pc:sldChg chg="del">
        <pc:chgData name="Goergen, YvesMaurice" userId="44f840f7-7bf2-431d-bc4f-990569b9d0ff" providerId="ADAL" clId="{2F1E63F0-BFEF-0E47-8C78-ED84D1B622D2}" dt="2022-03-24T09:22:23.049" v="95" actId="18676"/>
        <pc:sldMkLst>
          <pc:docMk/>
          <pc:sldMk cId="976719698" sldId="275"/>
        </pc:sldMkLst>
      </pc:sldChg>
      <pc:sldChg chg="delSp modSp del mod">
        <pc:chgData name="Goergen, YvesMaurice" userId="44f840f7-7bf2-431d-bc4f-990569b9d0ff" providerId="ADAL" clId="{2F1E63F0-BFEF-0E47-8C78-ED84D1B622D2}" dt="2022-03-24T09:35:07.654" v="261" actId="2696"/>
        <pc:sldMkLst>
          <pc:docMk/>
          <pc:sldMk cId="2746659705" sldId="280"/>
        </pc:sldMkLst>
        <pc:spChg chg="mod">
          <ac:chgData name="Goergen, YvesMaurice" userId="44f840f7-7bf2-431d-bc4f-990569b9d0ff" providerId="ADAL" clId="{2F1E63F0-BFEF-0E47-8C78-ED84D1B622D2}" dt="2022-03-24T09:26:28.713" v="216" actId="14100"/>
          <ac:spMkLst>
            <pc:docMk/>
            <pc:sldMk cId="2746659705" sldId="280"/>
            <ac:spMk id="2" creationId="{3406045A-83CF-C641-95A7-CEFA87248DAD}"/>
          </ac:spMkLst>
        </pc:spChg>
        <pc:picChg chg="del">
          <ac:chgData name="Goergen, YvesMaurice" userId="44f840f7-7bf2-431d-bc4f-990569b9d0ff" providerId="ADAL" clId="{2F1E63F0-BFEF-0E47-8C78-ED84D1B622D2}" dt="2022-03-24T09:21:05.411" v="47" actId="478"/>
          <ac:picMkLst>
            <pc:docMk/>
            <pc:sldMk cId="2746659705" sldId="280"/>
            <ac:picMk id="9" creationId="{D01122A9-3969-4E40-8F22-738EBCF20465}"/>
          </ac:picMkLst>
        </pc:picChg>
        <pc:picChg chg="del">
          <ac:chgData name="Goergen, YvesMaurice" userId="44f840f7-7bf2-431d-bc4f-990569b9d0ff" providerId="ADAL" clId="{2F1E63F0-BFEF-0E47-8C78-ED84D1B622D2}" dt="2022-03-24T09:21:07.201" v="48" actId="478"/>
          <ac:picMkLst>
            <pc:docMk/>
            <pc:sldMk cId="2746659705" sldId="280"/>
            <ac:picMk id="10" creationId="{E3DFAA32-2D73-B34C-98A2-0F8E5AA65569}"/>
          </ac:picMkLst>
        </pc:picChg>
        <pc:cxnChg chg="del">
          <ac:chgData name="Goergen, YvesMaurice" userId="44f840f7-7bf2-431d-bc4f-990569b9d0ff" providerId="ADAL" clId="{2F1E63F0-BFEF-0E47-8C78-ED84D1B622D2}" dt="2022-03-24T09:21:11.250" v="49" actId="478"/>
          <ac:cxnSpMkLst>
            <pc:docMk/>
            <pc:sldMk cId="2746659705" sldId="280"/>
            <ac:cxnSpMk id="12" creationId="{851156A9-31E3-B440-8748-715942583270}"/>
          </ac:cxnSpMkLst>
        </pc:cxnChg>
      </pc:sldChg>
      <pc:sldChg chg="del">
        <pc:chgData name="Goergen, YvesMaurice" userId="44f840f7-7bf2-431d-bc4f-990569b9d0ff" providerId="ADAL" clId="{2F1E63F0-BFEF-0E47-8C78-ED84D1B622D2}" dt="2022-03-24T09:22:50.403" v="99" actId="18676"/>
        <pc:sldMkLst>
          <pc:docMk/>
          <pc:sldMk cId="1001370080" sldId="282"/>
        </pc:sldMkLst>
      </pc:sldChg>
      <pc:sldChg chg="del">
        <pc:chgData name="Goergen, YvesMaurice" userId="44f840f7-7bf2-431d-bc4f-990569b9d0ff" providerId="ADAL" clId="{2F1E63F0-BFEF-0E47-8C78-ED84D1B622D2}" dt="2022-03-24T09:22:41.292" v="97" actId="18676"/>
        <pc:sldMkLst>
          <pc:docMk/>
          <pc:sldMk cId="2871299995" sldId="284"/>
        </pc:sldMkLst>
      </pc:sldChg>
      <pc:sldChg chg="del">
        <pc:chgData name="Goergen, YvesMaurice" userId="44f840f7-7bf2-431d-bc4f-990569b9d0ff" providerId="ADAL" clId="{2F1E63F0-BFEF-0E47-8C78-ED84D1B622D2}" dt="2022-03-24T09:22:54.108" v="100" actId="2696"/>
        <pc:sldMkLst>
          <pc:docMk/>
          <pc:sldMk cId="502459748" sldId="285"/>
        </pc:sldMkLst>
      </pc:sldChg>
      <pc:sldChg chg="modSp del mod">
        <pc:chgData name="Goergen, YvesMaurice" userId="44f840f7-7bf2-431d-bc4f-990569b9d0ff" providerId="ADAL" clId="{2F1E63F0-BFEF-0E47-8C78-ED84D1B622D2}" dt="2022-03-24T09:27:45.070" v="219" actId="2696"/>
        <pc:sldMkLst>
          <pc:docMk/>
          <pc:sldMk cId="4037070009" sldId="286"/>
        </pc:sldMkLst>
        <pc:spChg chg="mod">
          <ac:chgData name="Goergen, YvesMaurice" userId="44f840f7-7bf2-431d-bc4f-990569b9d0ff" providerId="ADAL" clId="{2F1E63F0-BFEF-0E47-8C78-ED84D1B622D2}" dt="2022-03-24T09:27:36.730" v="217" actId="113"/>
          <ac:spMkLst>
            <pc:docMk/>
            <pc:sldMk cId="4037070009" sldId="286"/>
            <ac:spMk id="2" creationId="{2EB5E6C1-3139-C94E-A888-0D30D49DA9CD}"/>
          </ac:spMkLst>
        </pc:spChg>
        <pc:spChg chg="mod">
          <ac:chgData name="Goergen, YvesMaurice" userId="44f840f7-7bf2-431d-bc4f-990569b9d0ff" providerId="ADAL" clId="{2F1E63F0-BFEF-0E47-8C78-ED84D1B622D2}" dt="2022-03-24T09:22:58.562" v="101" actId="20577"/>
          <ac:spMkLst>
            <pc:docMk/>
            <pc:sldMk cId="4037070009" sldId="286"/>
            <ac:spMk id="3" creationId="{6BC8AA63-DB2A-0D47-9B24-B0D044DA4496}"/>
          </ac:spMkLst>
        </pc:spChg>
      </pc:sldChg>
      <pc:sldChg chg="addSp delSp modSp add mod">
        <pc:chgData name="Goergen, YvesMaurice" userId="44f840f7-7bf2-431d-bc4f-990569b9d0ff" providerId="ADAL" clId="{2F1E63F0-BFEF-0E47-8C78-ED84D1B622D2}" dt="2022-03-24T19:39:17.683" v="4680" actId="113"/>
        <pc:sldMkLst>
          <pc:docMk/>
          <pc:sldMk cId="1532916500" sldId="287"/>
        </pc:sldMkLst>
        <pc:spChg chg="add mod">
          <ac:chgData name="Goergen, YvesMaurice" userId="44f840f7-7bf2-431d-bc4f-990569b9d0ff" providerId="ADAL" clId="{2F1E63F0-BFEF-0E47-8C78-ED84D1B622D2}" dt="2022-03-24T12:38:03.472" v="1803" actId="1035"/>
          <ac:spMkLst>
            <pc:docMk/>
            <pc:sldMk cId="1532916500" sldId="287"/>
            <ac:spMk id="2" creationId="{A95B8787-F351-C046-8EF6-9A68F51173F5}"/>
          </ac:spMkLst>
        </pc:spChg>
        <pc:spChg chg="mod">
          <ac:chgData name="Goergen, YvesMaurice" userId="44f840f7-7bf2-431d-bc4f-990569b9d0ff" providerId="ADAL" clId="{2F1E63F0-BFEF-0E47-8C78-ED84D1B622D2}" dt="2022-03-24T12:08:35.697" v="1148" actId="1076"/>
          <ac:spMkLst>
            <pc:docMk/>
            <pc:sldMk cId="1532916500" sldId="287"/>
            <ac:spMk id="3" creationId="{5CE6EAB6-127A-254D-B707-3629D15F4B1C}"/>
          </ac:spMkLst>
        </pc:spChg>
        <pc:spChg chg="add del mod">
          <ac:chgData name="Goergen, YvesMaurice" userId="44f840f7-7bf2-431d-bc4f-990569b9d0ff" providerId="ADAL" clId="{2F1E63F0-BFEF-0E47-8C78-ED84D1B622D2}" dt="2022-03-24T12:37:32.202" v="1793" actId="478"/>
          <ac:spMkLst>
            <pc:docMk/>
            <pc:sldMk cId="1532916500" sldId="287"/>
            <ac:spMk id="6" creationId="{D165B50C-2C56-494C-AB02-DA34B558EA8E}"/>
          </ac:spMkLst>
        </pc:spChg>
        <pc:spChg chg="add mod">
          <ac:chgData name="Goergen, YvesMaurice" userId="44f840f7-7bf2-431d-bc4f-990569b9d0ff" providerId="ADAL" clId="{2F1E63F0-BFEF-0E47-8C78-ED84D1B622D2}" dt="2022-03-24T13:04:24.733" v="2392" actId="14100"/>
          <ac:spMkLst>
            <pc:docMk/>
            <pc:sldMk cId="1532916500" sldId="287"/>
            <ac:spMk id="7" creationId="{8113D14F-A998-1C4C-B974-D17DD7330154}"/>
          </ac:spMkLst>
        </pc:spChg>
        <pc:spChg chg="add del mod">
          <ac:chgData name="Goergen, YvesMaurice" userId="44f840f7-7bf2-431d-bc4f-990569b9d0ff" providerId="ADAL" clId="{2F1E63F0-BFEF-0E47-8C78-ED84D1B622D2}" dt="2022-03-24T12:10:18.361" v="1168" actId="478"/>
          <ac:spMkLst>
            <pc:docMk/>
            <pc:sldMk cId="1532916500" sldId="287"/>
            <ac:spMk id="8" creationId="{6EA015AC-EDD2-F640-962B-7C8176E1FA3D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9" creationId="{246B1644-532E-424D-80FA-F9993E5F8E1F}"/>
          </ac:spMkLst>
        </pc:spChg>
        <pc:spChg chg="add del mod">
          <ac:chgData name="Goergen, YvesMaurice" userId="44f840f7-7bf2-431d-bc4f-990569b9d0ff" providerId="ADAL" clId="{2F1E63F0-BFEF-0E47-8C78-ED84D1B622D2}" dt="2022-03-24T12:19:43.134" v="1342"/>
          <ac:spMkLst>
            <pc:docMk/>
            <pc:sldMk cId="1532916500" sldId="287"/>
            <ac:spMk id="11" creationId="{30A9BBC6-058C-AA4F-9A8F-6490303604C2}"/>
          </ac:spMkLst>
        </pc:spChg>
        <pc:spChg chg="add del mod">
          <ac:chgData name="Goergen, YvesMaurice" userId="44f840f7-7bf2-431d-bc4f-990569b9d0ff" providerId="ADAL" clId="{2F1E63F0-BFEF-0E47-8C78-ED84D1B622D2}" dt="2022-03-24T12:19:56.847" v="1352"/>
          <ac:spMkLst>
            <pc:docMk/>
            <pc:sldMk cId="1532916500" sldId="287"/>
            <ac:spMk id="12" creationId="{F14C066A-37F9-B14C-A7EE-13CCD8BB3693}"/>
          </ac:spMkLst>
        </pc:spChg>
        <pc:spChg chg="add del mod">
          <ac:chgData name="Goergen, YvesMaurice" userId="44f840f7-7bf2-431d-bc4f-990569b9d0ff" providerId="ADAL" clId="{2F1E63F0-BFEF-0E47-8C78-ED84D1B622D2}" dt="2022-03-24T12:21:36.280" v="1461" actId="767"/>
          <ac:spMkLst>
            <pc:docMk/>
            <pc:sldMk cId="1532916500" sldId="287"/>
            <ac:spMk id="13" creationId="{B473FFF6-15C0-8648-94F7-1D68DEA20A9F}"/>
          </ac:spMkLst>
        </pc:spChg>
        <pc:spChg chg="add mod">
          <ac:chgData name="Goergen, YvesMaurice" userId="44f840f7-7bf2-431d-bc4f-990569b9d0ff" providerId="ADAL" clId="{2F1E63F0-BFEF-0E47-8C78-ED84D1B622D2}" dt="2022-03-24T19:39:17.683" v="4680" actId="113"/>
          <ac:spMkLst>
            <pc:docMk/>
            <pc:sldMk cId="1532916500" sldId="287"/>
            <ac:spMk id="14" creationId="{76EB00B1-5251-F644-9E01-B594CFFF3E8F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17" creationId="{3E45E5AE-8EF7-DC42-8F0F-09884CAB3FA9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18" creationId="{89F91C8C-82E7-8A4C-B030-713EE7381476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19" creationId="{3CF3CAF0-EA4A-4442-8814-9805F09E1422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20" creationId="{F98395A4-57E1-144D-BCBC-F0D4352CFB65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21" creationId="{3614531D-4246-B247-BA21-760321818E51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23" creationId="{07371144-0DBB-FF4B-8FB2-551C12906998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26" creationId="{2A20B8D8-53C4-EF41-91CA-26B5ACAFD0CD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27" creationId="{16AC2725-92DC-B64E-A405-332A8F1F61A4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28" creationId="{32D9761E-FB24-0F4A-A3E1-B27ECAA34640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29" creationId="{82DB8DE8-F227-5042-AC8A-C66E0F89B060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30" creationId="{29D7E87D-1D9D-0743-A67A-A58497695EC6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31" creationId="{5F82ACF0-3123-754D-9733-F69E31E14F1E}"/>
          </ac:spMkLst>
        </pc:spChg>
        <pc:spChg chg="add mod">
          <ac:chgData name="Goergen, YvesMaurice" userId="44f840f7-7bf2-431d-bc4f-990569b9d0ff" providerId="ADAL" clId="{2F1E63F0-BFEF-0E47-8C78-ED84D1B622D2}" dt="2022-03-24T12:21:37.004" v="1462"/>
          <ac:spMkLst>
            <pc:docMk/>
            <pc:sldMk cId="1532916500" sldId="287"/>
            <ac:spMk id="32" creationId="{E4F0E4D7-5A2E-8249-A691-8ACEB9DA4C4B}"/>
          </ac:spMkLst>
        </pc:spChg>
        <pc:spChg chg="add mod">
          <ac:chgData name="Goergen, YvesMaurice" userId="44f840f7-7bf2-431d-bc4f-990569b9d0ff" providerId="ADAL" clId="{2F1E63F0-BFEF-0E47-8C78-ED84D1B622D2}" dt="2022-03-24T12:21:37.004" v="1462"/>
          <ac:spMkLst>
            <pc:docMk/>
            <pc:sldMk cId="1532916500" sldId="287"/>
            <ac:spMk id="33" creationId="{384F8D99-DD6F-D44B-9C38-3905DC3C802F}"/>
          </ac:spMkLst>
        </pc:spChg>
        <pc:spChg chg="add mod">
          <ac:chgData name="Goergen, YvesMaurice" userId="44f840f7-7bf2-431d-bc4f-990569b9d0ff" providerId="ADAL" clId="{2F1E63F0-BFEF-0E47-8C78-ED84D1B622D2}" dt="2022-03-24T12:21:37.004" v="1462"/>
          <ac:spMkLst>
            <pc:docMk/>
            <pc:sldMk cId="1532916500" sldId="287"/>
            <ac:spMk id="34" creationId="{8612C617-684F-784D-8646-8A826FC222FA}"/>
          </ac:spMkLst>
        </pc:spChg>
        <pc:spChg chg="add mod">
          <ac:chgData name="Goergen, YvesMaurice" userId="44f840f7-7bf2-431d-bc4f-990569b9d0ff" providerId="ADAL" clId="{2F1E63F0-BFEF-0E47-8C78-ED84D1B622D2}" dt="2022-03-24T12:21:37.004" v="1462"/>
          <ac:spMkLst>
            <pc:docMk/>
            <pc:sldMk cId="1532916500" sldId="287"/>
            <ac:spMk id="35" creationId="{BE456497-AF7B-864E-AFC0-8DB429F4F3EF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37" creationId="{38C5CDDC-E67A-924E-A311-62FB923A07DF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38" creationId="{5633D717-AFF0-CF43-8D05-A217827169FB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39" creationId="{11E7DB3B-E787-F347-B9F7-4B1020008BEC}"/>
          </ac:spMkLst>
        </pc:spChg>
        <pc:spChg chg="add mod">
          <ac:chgData name="Goergen, YvesMaurice" userId="44f840f7-7bf2-431d-bc4f-990569b9d0ff" providerId="ADAL" clId="{2F1E63F0-BFEF-0E47-8C78-ED84D1B622D2}" dt="2022-03-24T14:44:49.462" v="2985" actId="14100"/>
          <ac:spMkLst>
            <pc:docMk/>
            <pc:sldMk cId="1532916500" sldId="287"/>
            <ac:spMk id="40" creationId="{60E8BB46-CB46-FC42-B49B-276CAB145437}"/>
          </ac:spMkLst>
        </pc:spChg>
        <pc:spChg chg="add mod">
          <ac:chgData name="Goergen, YvesMaurice" userId="44f840f7-7bf2-431d-bc4f-990569b9d0ff" providerId="ADAL" clId="{2F1E63F0-BFEF-0E47-8C78-ED84D1B622D2}" dt="2022-03-24T13:04:24.733" v="2392" actId="14100"/>
          <ac:spMkLst>
            <pc:docMk/>
            <pc:sldMk cId="1532916500" sldId="287"/>
            <ac:spMk id="42" creationId="{DFD20616-14F8-1F49-8CD8-66A37A882582}"/>
          </ac:spMkLst>
        </pc:spChg>
        <pc:spChg chg="add mod">
          <ac:chgData name="Goergen, YvesMaurice" userId="44f840f7-7bf2-431d-bc4f-990569b9d0ff" providerId="ADAL" clId="{2F1E63F0-BFEF-0E47-8C78-ED84D1B622D2}" dt="2022-03-24T13:04:24.733" v="2392" actId="14100"/>
          <ac:spMkLst>
            <pc:docMk/>
            <pc:sldMk cId="1532916500" sldId="287"/>
            <ac:spMk id="43" creationId="{01E700F6-08D8-CA4A-8286-89C5F2BCCABD}"/>
          </ac:spMkLst>
        </pc:spChg>
        <pc:spChg chg="del mod">
          <ac:chgData name="Goergen, YvesMaurice" userId="44f840f7-7bf2-431d-bc4f-990569b9d0ff" providerId="ADAL" clId="{2F1E63F0-BFEF-0E47-8C78-ED84D1B622D2}" dt="2022-03-24T11:35:22.026" v="651" actId="478"/>
          <ac:spMkLst>
            <pc:docMk/>
            <pc:sldMk cId="1532916500" sldId="287"/>
            <ac:spMk id="47" creationId="{4D51A046-F98E-44A7-ADD1-AEB3FFD4BD60}"/>
          </ac:spMkLst>
        </pc:spChg>
        <pc:spChg chg="add del mod">
          <ac:chgData name="Goergen, YvesMaurice" userId="44f840f7-7bf2-431d-bc4f-990569b9d0ff" providerId="ADAL" clId="{2F1E63F0-BFEF-0E47-8C78-ED84D1B622D2}" dt="2022-03-24T14:44:12.261" v="2914"/>
          <ac:spMkLst>
            <pc:docMk/>
            <pc:sldMk cId="1532916500" sldId="287"/>
            <ac:spMk id="50" creationId="{2E727BF9-580D-ED43-81B3-1031F7CE1C28}"/>
          </ac:spMkLst>
        </pc:spChg>
        <pc:grpChg chg="add mod">
          <ac:chgData name="Goergen, YvesMaurice" userId="44f840f7-7bf2-431d-bc4f-990569b9d0ff" providerId="ADAL" clId="{2F1E63F0-BFEF-0E47-8C78-ED84D1B622D2}" dt="2022-03-24T12:38:03.472" v="1803" actId="1035"/>
          <ac:grpSpMkLst>
            <pc:docMk/>
            <pc:sldMk cId="1532916500" sldId="287"/>
            <ac:grpSpMk id="10" creationId="{4BD9F5AF-CD50-A34D-B0F6-50CA1731B45A}"/>
          </ac:grpSpMkLst>
        </pc:grpChg>
        <pc:picChg chg="add mod">
          <ac:chgData name="Goergen, YvesMaurice" userId="44f840f7-7bf2-431d-bc4f-990569b9d0ff" providerId="ADAL" clId="{2F1E63F0-BFEF-0E47-8C78-ED84D1B622D2}" dt="2022-03-24T11:34:51.336" v="644"/>
          <ac:picMkLst>
            <pc:docMk/>
            <pc:sldMk cId="1532916500" sldId="287"/>
            <ac:picMk id="4" creationId="{81E3ECEC-E298-9641-840C-5F299B5BB340}"/>
          </ac:picMkLst>
        </pc:picChg>
        <pc:picChg chg="add del mod">
          <ac:chgData name="Goergen, YvesMaurice" userId="44f840f7-7bf2-431d-bc4f-990569b9d0ff" providerId="ADAL" clId="{2F1E63F0-BFEF-0E47-8C78-ED84D1B622D2}" dt="2022-03-24T11:34:55.824" v="647" actId="478"/>
          <ac:picMkLst>
            <pc:docMk/>
            <pc:sldMk cId="1532916500" sldId="287"/>
            <ac:picMk id="5" creationId="{429196EF-C231-F64C-ADFE-CE3A5F0A77B0}"/>
          </ac:picMkLst>
        </pc:picChg>
        <pc:picChg chg="add del mod">
          <ac:chgData name="Goergen, YvesMaurice" userId="44f840f7-7bf2-431d-bc4f-990569b9d0ff" providerId="ADAL" clId="{2F1E63F0-BFEF-0E47-8C78-ED84D1B622D2}" dt="2022-03-24T12:51:08.645" v="1914" actId="478"/>
          <ac:picMkLst>
            <pc:docMk/>
            <pc:sldMk cId="1532916500" sldId="287"/>
            <ac:picMk id="16" creationId="{752CB8A2-EA77-9E45-940E-F946B405EAF0}"/>
          </ac:picMkLst>
        </pc:picChg>
        <pc:picChg chg="add mod">
          <ac:chgData name="Goergen, YvesMaurice" userId="44f840f7-7bf2-431d-bc4f-990569b9d0ff" providerId="ADAL" clId="{2F1E63F0-BFEF-0E47-8C78-ED84D1B622D2}" dt="2022-03-24T14:49:06.338" v="3005" actId="208"/>
          <ac:picMkLst>
            <pc:docMk/>
            <pc:sldMk cId="1532916500" sldId="287"/>
            <ac:picMk id="24" creationId="{69A5D181-35D7-1B47-9378-D4B0A2C42B96}"/>
          </ac:picMkLst>
        </pc:picChg>
        <pc:picChg chg="add del mod">
          <ac:chgData name="Goergen, YvesMaurice" userId="44f840f7-7bf2-431d-bc4f-990569b9d0ff" providerId="ADAL" clId="{2F1E63F0-BFEF-0E47-8C78-ED84D1B622D2}" dt="2022-03-24T12:51:09.917" v="1915" actId="478"/>
          <ac:picMkLst>
            <pc:docMk/>
            <pc:sldMk cId="1532916500" sldId="287"/>
            <ac:picMk id="36" creationId="{5914F849-F0BA-C74B-8EE7-A386722FD0DD}"/>
          </ac:picMkLst>
        </pc:picChg>
        <pc:picChg chg="add mod">
          <ac:chgData name="Goergen, YvesMaurice" userId="44f840f7-7bf2-431d-bc4f-990569b9d0ff" providerId="ADAL" clId="{2F1E63F0-BFEF-0E47-8C78-ED84D1B622D2}" dt="2022-03-24T14:49:06.338" v="3005" actId="208"/>
          <ac:picMkLst>
            <pc:docMk/>
            <pc:sldMk cId="1532916500" sldId="287"/>
            <ac:picMk id="44" creationId="{7782B15F-264C-164C-9178-9195508F24DE}"/>
          </ac:picMkLst>
        </pc:picChg>
        <pc:picChg chg="add mod">
          <ac:chgData name="Goergen, YvesMaurice" userId="44f840f7-7bf2-431d-bc4f-990569b9d0ff" providerId="ADAL" clId="{2F1E63F0-BFEF-0E47-8C78-ED84D1B622D2}" dt="2022-03-24T14:49:06.338" v="3005" actId="208"/>
          <ac:picMkLst>
            <pc:docMk/>
            <pc:sldMk cId="1532916500" sldId="287"/>
            <ac:picMk id="46" creationId="{87DA556C-D37E-D74C-A8AA-4281F7BCB1D2}"/>
          </ac:picMkLst>
        </pc:picChg>
        <pc:picChg chg="add del mod">
          <ac:chgData name="Goergen, YvesMaurice" userId="44f840f7-7bf2-431d-bc4f-990569b9d0ff" providerId="ADAL" clId="{2F1E63F0-BFEF-0E47-8C78-ED84D1B622D2}" dt="2022-03-24T12:50:48.358" v="1904" actId="478"/>
          <ac:picMkLst>
            <pc:docMk/>
            <pc:sldMk cId="1532916500" sldId="287"/>
            <ac:picMk id="49" creationId="{AEC1675C-5907-0E4A-883E-3EC414CD4477}"/>
          </ac:picMkLst>
        </pc:picChg>
        <pc:picChg chg="add del mod">
          <ac:chgData name="Goergen, YvesMaurice" userId="44f840f7-7bf2-431d-bc4f-990569b9d0ff" providerId="ADAL" clId="{2F1E63F0-BFEF-0E47-8C78-ED84D1B622D2}" dt="2022-03-24T12:03:46.622" v="1110" actId="478"/>
          <ac:picMkLst>
            <pc:docMk/>
            <pc:sldMk cId="1532916500" sldId="287"/>
            <ac:picMk id="17410" creationId="{452D44DF-F58C-E340-BF11-9D6671265ADA}"/>
          </ac:picMkLst>
        </pc:picChg>
        <pc:picChg chg="add del mod">
          <ac:chgData name="Goergen, YvesMaurice" userId="44f840f7-7bf2-431d-bc4f-990569b9d0ff" providerId="ADAL" clId="{2F1E63F0-BFEF-0E47-8C78-ED84D1B622D2}" dt="2022-03-24T12:05:23.865" v="1129" actId="478"/>
          <ac:picMkLst>
            <pc:docMk/>
            <pc:sldMk cId="1532916500" sldId="287"/>
            <ac:picMk id="17412" creationId="{D54E103E-E3E6-964B-9B27-E2452F027D85}"/>
          </ac:picMkLst>
        </pc:picChg>
        <pc:picChg chg="add del mod">
          <ac:chgData name="Goergen, YvesMaurice" userId="44f840f7-7bf2-431d-bc4f-990569b9d0ff" providerId="ADAL" clId="{2F1E63F0-BFEF-0E47-8C78-ED84D1B622D2}" dt="2022-03-24T12:01:32.969" v="1092" actId="478"/>
          <ac:picMkLst>
            <pc:docMk/>
            <pc:sldMk cId="1532916500" sldId="287"/>
            <ac:picMk id="17414" creationId="{3C678497-8AEF-4848-8970-0139E5EEB6C8}"/>
          </ac:picMkLst>
        </pc:picChg>
        <pc:picChg chg="add del mod">
          <ac:chgData name="Goergen, YvesMaurice" userId="44f840f7-7bf2-431d-bc4f-990569b9d0ff" providerId="ADAL" clId="{2F1E63F0-BFEF-0E47-8C78-ED84D1B622D2}" dt="2022-03-24T12:04:49.908" v="1113" actId="478"/>
          <ac:picMkLst>
            <pc:docMk/>
            <pc:sldMk cId="1532916500" sldId="287"/>
            <ac:picMk id="17416" creationId="{66733AB6-B96F-E740-842E-CA17D7D00993}"/>
          </ac:picMkLst>
        </pc:picChg>
        <pc:picChg chg="add del mod">
          <ac:chgData name="Goergen, YvesMaurice" userId="44f840f7-7bf2-431d-bc4f-990569b9d0ff" providerId="ADAL" clId="{2F1E63F0-BFEF-0E47-8C78-ED84D1B622D2}" dt="2022-03-24T12:05:16.852" v="1122" actId="478"/>
          <ac:picMkLst>
            <pc:docMk/>
            <pc:sldMk cId="1532916500" sldId="287"/>
            <ac:picMk id="17418" creationId="{20482D09-6520-7846-90AB-AD397B5CE207}"/>
          </ac:picMkLst>
        </pc:picChg>
        <pc:picChg chg="add mod">
          <ac:chgData name="Goergen, YvesMaurice" userId="44f840f7-7bf2-431d-bc4f-990569b9d0ff" providerId="ADAL" clId="{2F1E63F0-BFEF-0E47-8C78-ED84D1B622D2}" dt="2022-03-24T12:38:03.472" v="1803" actId="1035"/>
          <ac:picMkLst>
            <pc:docMk/>
            <pc:sldMk cId="1532916500" sldId="287"/>
            <ac:picMk id="17420" creationId="{3BE317AD-C085-CB42-9E06-57905A768288}"/>
          </ac:picMkLst>
        </pc:picChg>
      </pc:sldChg>
      <pc:sldChg chg="add del">
        <pc:chgData name="Goergen, YvesMaurice" userId="44f840f7-7bf2-431d-bc4f-990569b9d0ff" providerId="ADAL" clId="{2F1E63F0-BFEF-0E47-8C78-ED84D1B622D2}" dt="2022-03-24T09:23:21.844" v="122" actId="2696"/>
        <pc:sldMkLst>
          <pc:docMk/>
          <pc:sldMk cId="2263186267" sldId="288"/>
        </pc:sldMkLst>
      </pc:sldChg>
      <pc:sldChg chg="modSp add mod">
        <pc:chgData name="Goergen, YvesMaurice" userId="44f840f7-7bf2-431d-bc4f-990569b9d0ff" providerId="ADAL" clId="{2F1E63F0-BFEF-0E47-8C78-ED84D1B622D2}" dt="2022-03-25T06:34:33.788" v="4758" actId="1035"/>
        <pc:sldMkLst>
          <pc:docMk/>
          <pc:sldMk cId="2516800527" sldId="289"/>
        </pc:sldMkLst>
        <pc:spChg chg="mod">
          <ac:chgData name="Goergen, YvesMaurice" userId="44f840f7-7bf2-431d-bc4f-990569b9d0ff" providerId="ADAL" clId="{2F1E63F0-BFEF-0E47-8C78-ED84D1B622D2}" dt="2022-03-24T12:25:19.534" v="1529" actId="403"/>
          <ac:spMkLst>
            <pc:docMk/>
            <pc:sldMk cId="2516800527" sldId="289"/>
            <ac:spMk id="3" creationId="{5CE6EAB6-127A-254D-B707-3629D15F4B1C}"/>
          </ac:spMkLst>
        </pc:spChg>
        <pc:spChg chg="mod">
          <ac:chgData name="Goergen, YvesMaurice" userId="44f840f7-7bf2-431d-bc4f-990569b9d0ff" providerId="ADAL" clId="{2F1E63F0-BFEF-0E47-8C78-ED84D1B622D2}" dt="2022-03-24T12:53:48.474" v="1951" actId="1076"/>
          <ac:spMkLst>
            <pc:docMk/>
            <pc:sldMk cId="2516800527" sldId="289"/>
            <ac:spMk id="47" creationId="{4D51A046-F98E-44A7-ADD1-AEB3FFD4BD60}"/>
          </ac:spMkLst>
        </pc:spChg>
        <pc:picChg chg="mod">
          <ac:chgData name="Goergen, YvesMaurice" userId="44f840f7-7bf2-431d-bc4f-990569b9d0ff" providerId="ADAL" clId="{2F1E63F0-BFEF-0E47-8C78-ED84D1B622D2}" dt="2022-03-25T06:34:33.788" v="4758" actId="1035"/>
          <ac:picMkLst>
            <pc:docMk/>
            <pc:sldMk cId="2516800527" sldId="289"/>
            <ac:picMk id="4" creationId="{E3359828-0ED3-D140-BAE4-D4C3D09315D9}"/>
          </ac:picMkLst>
        </pc:picChg>
      </pc:sldChg>
      <pc:sldChg chg="addSp delSp modSp add mod">
        <pc:chgData name="Goergen, YvesMaurice" userId="44f840f7-7bf2-431d-bc4f-990569b9d0ff" providerId="ADAL" clId="{2F1E63F0-BFEF-0E47-8C78-ED84D1B622D2}" dt="2022-03-24T20:56:41.149" v="4756" actId="20577"/>
        <pc:sldMkLst>
          <pc:docMk/>
          <pc:sldMk cId="3559843728" sldId="290"/>
        </pc:sldMkLst>
        <pc:spChg chg="mod">
          <ac:chgData name="Goergen, YvesMaurice" userId="44f840f7-7bf2-431d-bc4f-990569b9d0ff" providerId="ADAL" clId="{2F1E63F0-BFEF-0E47-8C78-ED84D1B622D2}" dt="2022-03-24T15:34:49.262" v="3060" actId="403"/>
          <ac:spMkLst>
            <pc:docMk/>
            <pc:sldMk cId="3559843728" sldId="290"/>
            <ac:spMk id="3" creationId="{5CE6EAB6-127A-254D-B707-3629D15F4B1C}"/>
          </ac:spMkLst>
        </pc:spChg>
        <pc:spChg chg="add del mod">
          <ac:chgData name="Goergen, YvesMaurice" userId="44f840f7-7bf2-431d-bc4f-990569b9d0ff" providerId="ADAL" clId="{2F1E63F0-BFEF-0E47-8C78-ED84D1B622D2}" dt="2022-03-24T11:39:39.532" v="691" actId="478"/>
          <ac:spMkLst>
            <pc:docMk/>
            <pc:sldMk cId="3559843728" sldId="290"/>
            <ac:spMk id="4" creationId="{F0602FC5-650F-5F43-B3D7-366349DB864F}"/>
          </ac:spMkLst>
        </pc:spChg>
        <pc:spChg chg="add mod">
          <ac:chgData name="Goergen, YvesMaurice" userId="44f840f7-7bf2-431d-bc4f-990569b9d0ff" providerId="ADAL" clId="{2F1E63F0-BFEF-0E47-8C78-ED84D1B622D2}" dt="2022-03-24T20:56:22.554" v="4752" actId="408"/>
          <ac:spMkLst>
            <pc:docMk/>
            <pc:sldMk cId="3559843728" sldId="290"/>
            <ac:spMk id="5" creationId="{A3D87D1E-FED8-6443-8F58-D8CB58B5E3CB}"/>
          </ac:spMkLst>
        </pc:spChg>
        <pc:spChg chg="add mod">
          <ac:chgData name="Goergen, YvesMaurice" userId="44f840f7-7bf2-431d-bc4f-990569b9d0ff" providerId="ADAL" clId="{2F1E63F0-BFEF-0E47-8C78-ED84D1B622D2}" dt="2022-03-24T20:56:22.554" v="4752" actId="408"/>
          <ac:spMkLst>
            <pc:docMk/>
            <pc:sldMk cId="3559843728" sldId="290"/>
            <ac:spMk id="6" creationId="{759488CF-7739-A14B-82A9-47F6A3254A4A}"/>
          </ac:spMkLst>
        </pc:spChg>
        <pc:spChg chg="add mod">
          <ac:chgData name="Goergen, YvesMaurice" userId="44f840f7-7bf2-431d-bc4f-990569b9d0ff" providerId="ADAL" clId="{2F1E63F0-BFEF-0E47-8C78-ED84D1B622D2}" dt="2022-03-24T20:56:22.554" v="4752" actId="408"/>
          <ac:spMkLst>
            <pc:docMk/>
            <pc:sldMk cId="3559843728" sldId="290"/>
            <ac:spMk id="7" creationId="{EB830716-290E-D040-B6E4-D51456192BCA}"/>
          </ac:spMkLst>
        </pc:spChg>
        <pc:spChg chg="add mod">
          <ac:chgData name="Goergen, YvesMaurice" userId="44f840f7-7bf2-431d-bc4f-990569b9d0ff" providerId="ADAL" clId="{2F1E63F0-BFEF-0E47-8C78-ED84D1B622D2}" dt="2022-03-24T18:14:59.403" v="4549" actId="20577"/>
          <ac:spMkLst>
            <pc:docMk/>
            <pc:sldMk cId="3559843728" sldId="290"/>
            <ac:spMk id="8" creationId="{6D297384-9BE5-C347-A001-9FD5D995E1B5}"/>
          </ac:spMkLst>
        </pc:spChg>
        <pc:spChg chg="add mod">
          <ac:chgData name="Goergen, YvesMaurice" userId="44f840f7-7bf2-431d-bc4f-990569b9d0ff" providerId="ADAL" clId="{2F1E63F0-BFEF-0E47-8C78-ED84D1B622D2}" dt="2022-03-24T20:56:41.149" v="4756" actId="20577"/>
          <ac:spMkLst>
            <pc:docMk/>
            <pc:sldMk cId="3559843728" sldId="290"/>
            <ac:spMk id="9" creationId="{C4D2D8DA-2692-1942-A98C-1AAE33AB46DD}"/>
          </ac:spMkLst>
        </pc:spChg>
        <pc:spChg chg="del">
          <ac:chgData name="Goergen, YvesMaurice" userId="44f840f7-7bf2-431d-bc4f-990569b9d0ff" providerId="ADAL" clId="{2F1E63F0-BFEF-0E47-8C78-ED84D1B622D2}" dt="2022-03-24T11:39:37.788" v="689" actId="478"/>
          <ac:spMkLst>
            <pc:docMk/>
            <pc:sldMk cId="3559843728" sldId="290"/>
            <ac:spMk id="47" creationId="{4D51A046-F98E-44A7-ADD1-AEB3FFD4BD60}"/>
          </ac:spMkLst>
        </pc:spChg>
      </pc:sldChg>
      <pc:sldChg chg="addSp delSp modSp add mod">
        <pc:chgData name="Goergen, YvesMaurice" userId="44f840f7-7bf2-431d-bc4f-990569b9d0ff" providerId="ADAL" clId="{2F1E63F0-BFEF-0E47-8C78-ED84D1B622D2}" dt="2022-03-24T20:22:53.670" v="4728" actId="478"/>
        <pc:sldMkLst>
          <pc:docMk/>
          <pc:sldMk cId="4287475400" sldId="291"/>
        </pc:sldMkLst>
        <pc:spChg chg="mod">
          <ac:chgData name="Goergen, YvesMaurice" userId="44f840f7-7bf2-431d-bc4f-990569b9d0ff" providerId="ADAL" clId="{2F1E63F0-BFEF-0E47-8C78-ED84D1B622D2}" dt="2022-03-24T15:34:54.898" v="3061" actId="403"/>
          <ac:spMkLst>
            <pc:docMk/>
            <pc:sldMk cId="4287475400" sldId="291"/>
            <ac:spMk id="3" creationId="{5CE6EAB6-127A-254D-B707-3629D15F4B1C}"/>
          </ac:spMkLst>
        </pc:spChg>
        <pc:spChg chg="add mod">
          <ac:chgData name="Goergen, YvesMaurice" userId="44f840f7-7bf2-431d-bc4f-990569b9d0ff" providerId="ADAL" clId="{2F1E63F0-BFEF-0E47-8C78-ED84D1B622D2}" dt="2022-03-24T13:03:43.819" v="2372" actId="14100"/>
          <ac:spMkLst>
            <pc:docMk/>
            <pc:sldMk cId="4287475400" sldId="291"/>
            <ac:spMk id="8" creationId="{3EFCFE82-D349-DF43-B1DF-9D0891FC33A5}"/>
          </ac:spMkLst>
        </pc:spChg>
        <pc:spChg chg="add mod">
          <ac:chgData name="Goergen, YvesMaurice" userId="44f840f7-7bf2-431d-bc4f-990569b9d0ff" providerId="ADAL" clId="{2F1E63F0-BFEF-0E47-8C78-ED84D1B622D2}" dt="2022-03-24T13:09:17.177" v="2410" actId="1076"/>
          <ac:spMkLst>
            <pc:docMk/>
            <pc:sldMk cId="4287475400" sldId="291"/>
            <ac:spMk id="9" creationId="{FF140995-D594-6D47-9FF9-941B39C61C57}"/>
          </ac:spMkLst>
        </pc:spChg>
        <pc:spChg chg="add mod">
          <ac:chgData name="Goergen, YvesMaurice" userId="44f840f7-7bf2-431d-bc4f-990569b9d0ff" providerId="ADAL" clId="{2F1E63F0-BFEF-0E47-8C78-ED84D1B622D2}" dt="2022-03-24T13:03:22.456" v="2368" actId="1038"/>
          <ac:spMkLst>
            <pc:docMk/>
            <pc:sldMk cId="4287475400" sldId="291"/>
            <ac:spMk id="11" creationId="{C1CE402B-539A-BA4D-8427-27A9AB55B605}"/>
          </ac:spMkLst>
        </pc:spChg>
        <pc:spChg chg="add del mod">
          <ac:chgData name="Goergen, YvesMaurice" userId="44f840f7-7bf2-431d-bc4f-990569b9d0ff" providerId="ADAL" clId="{2F1E63F0-BFEF-0E47-8C78-ED84D1B622D2}" dt="2022-03-24T13:30:50.973" v="2481" actId="478"/>
          <ac:spMkLst>
            <pc:docMk/>
            <pc:sldMk cId="4287475400" sldId="291"/>
            <ac:spMk id="12" creationId="{A4A0E86B-17E5-5B49-8C3F-AEDA610ECE77}"/>
          </ac:spMkLst>
        </pc:spChg>
        <pc:spChg chg="add mod">
          <ac:chgData name="Goergen, YvesMaurice" userId="44f840f7-7bf2-431d-bc4f-990569b9d0ff" providerId="ADAL" clId="{2F1E63F0-BFEF-0E47-8C78-ED84D1B622D2}" dt="2022-03-24T20:22:43.996" v="4727" actId="339"/>
          <ac:spMkLst>
            <pc:docMk/>
            <pc:sldMk cId="4287475400" sldId="291"/>
            <ac:spMk id="26" creationId="{999EEBB8-67D8-C54E-874D-218CA0863741}"/>
          </ac:spMkLst>
        </pc:spChg>
        <pc:spChg chg="add del mod">
          <ac:chgData name="Goergen, YvesMaurice" userId="44f840f7-7bf2-431d-bc4f-990569b9d0ff" providerId="ADAL" clId="{2F1E63F0-BFEF-0E47-8C78-ED84D1B622D2}" dt="2022-03-24T20:22:53.670" v="4728" actId="478"/>
          <ac:spMkLst>
            <pc:docMk/>
            <pc:sldMk cId="4287475400" sldId="291"/>
            <ac:spMk id="27" creationId="{3A90E231-7D4A-774B-BA86-B38497BBBE26}"/>
          </ac:spMkLst>
        </pc:spChg>
        <pc:spChg chg="add mod">
          <ac:chgData name="Goergen, YvesMaurice" userId="44f840f7-7bf2-431d-bc4f-990569b9d0ff" providerId="ADAL" clId="{2F1E63F0-BFEF-0E47-8C78-ED84D1B622D2}" dt="2022-03-24T20:22:03.013" v="4710" actId="339"/>
          <ac:spMkLst>
            <pc:docMk/>
            <pc:sldMk cId="4287475400" sldId="291"/>
            <ac:spMk id="28" creationId="{E1F0359F-CECA-9243-8AFA-8A692B05AB85}"/>
          </ac:spMkLst>
        </pc:spChg>
        <pc:spChg chg="mod">
          <ac:chgData name="Goergen, YvesMaurice" userId="44f840f7-7bf2-431d-bc4f-990569b9d0ff" providerId="ADAL" clId="{2F1E63F0-BFEF-0E47-8C78-ED84D1B622D2}" dt="2022-03-24T19:39:04.951" v="4679" actId="20577"/>
          <ac:spMkLst>
            <pc:docMk/>
            <pc:sldMk cId="4287475400" sldId="291"/>
            <ac:spMk id="47" creationId="{4D51A046-F98E-44A7-ADD1-AEB3FFD4BD60}"/>
          </ac:spMkLst>
        </pc:spChg>
        <pc:picChg chg="add del mod">
          <ac:chgData name="Goergen, YvesMaurice" userId="44f840f7-7bf2-431d-bc4f-990569b9d0ff" providerId="ADAL" clId="{2F1E63F0-BFEF-0E47-8C78-ED84D1B622D2}" dt="2022-03-24T13:44:21.140" v="2590" actId="478"/>
          <ac:picMkLst>
            <pc:docMk/>
            <pc:sldMk cId="4287475400" sldId="291"/>
            <ac:picMk id="25" creationId="{C764E516-8869-9048-9DDD-11574A1B1C94}"/>
          </ac:picMkLst>
        </pc:picChg>
        <pc:picChg chg="add mod">
          <ac:chgData name="Goergen, YvesMaurice" userId="44f840f7-7bf2-431d-bc4f-990569b9d0ff" providerId="ADAL" clId="{2F1E63F0-BFEF-0E47-8C78-ED84D1B622D2}" dt="2022-03-24T13:09:57.493" v="2420" actId="14100"/>
          <ac:picMkLst>
            <pc:docMk/>
            <pc:sldMk cId="4287475400" sldId="291"/>
            <ac:picMk id="18434" creationId="{880821A9-FCD4-6541-9DB5-5647E9CDFD47}"/>
          </ac:picMkLst>
        </pc:picChg>
        <pc:picChg chg="add del mod">
          <ac:chgData name="Goergen, YvesMaurice" userId="44f840f7-7bf2-431d-bc4f-990569b9d0ff" providerId="ADAL" clId="{2F1E63F0-BFEF-0E47-8C78-ED84D1B622D2}" dt="2022-03-24T13:30:49.912" v="2480" actId="478"/>
          <ac:picMkLst>
            <pc:docMk/>
            <pc:sldMk cId="4287475400" sldId="291"/>
            <ac:picMk id="18436" creationId="{990DD017-6B85-684B-8852-7C46C0CA4061}"/>
          </ac:picMkLst>
        </pc:picChg>
        <pc:picChg chg="add del mod">
          <ac:chgData name="Goergen, YvesMaurice" userId="44f840f7-7bf2-431d-bc4f-990569b9d0ff" providerId="ADAL" clId="{2F1E63F0-BFEF-0E47-8C78-ED84D1B622D2}" dt="2022-03-24T13:31:00.732" v="2486" actId="478"/>
          <ac:picMkLst>
            <pc:docMk/>
            <pc:sldMk cId="4287475400" sldId="291"/>
            <ac:picMk id="18438" creationId="{BCEDFCDF-11B6-CF43-92D4-634A70FE2F90}"/>
          </ac:picMkLst>
        </pc:picChg>
        <pc:picChg chg="add del mod">
          <ac:chgData name="Goergen, YvesMaurice" userId="44f840f7-7bf2-431d-bc4f-990569b9d0ff" providerId="ADAL" clId="{2F1E63F0-BFEF-0E47-8C78-ED84D1B622D2}" dt="2022-03-24T13:32:23.651" v="2514" actId="478"/>
          <ac:picMkLst>
            <pc:docMk/>
            <pc:sldMk cId="4287475400" sldId="291"/>
            <ac:picMk id="18440" creationId="{32D5BB4C-C74E-0B44-9EB0-E62193B840DD}"/>
          </ac:picMkLst>
        </pc:picChg>
        <pc:picChg chg="add mod">
          <ac:chgData name="Goergen, YvesMaurice" userId="44f840f7-7bf2-431d-bc4f-990569b9d0ff" providerId="ADAL" clId="{2F1E63F0-BFEF-0E47-8C78-ED84D1B622D2}" dt="2022-03-24T13:33:07.989" v="2524" actId="14100"/>
          <ac:picMkLst>
            <pc:docMk/>
            <pc:sldMk cId="4287475400" sldId="291"/>
            <ac:picMk id="18442" creationId="{8DADBF1B-DD81-0243-8A8A-44ED2C821BD7}"/>
          </ac:picMkLst>
        </pc:picChg>
        <pc:picChg chg="add mod">
          <ac:chgData name="Goergen, YvesMaurice" userId="44f840f7-7bf2-431d-bc4f-990569b9d0ff" providerId="ADAL" clId="{2F1E63F0-BFEF-0E47-8C78-ED84D1B622D2}" dt="2022-03-24T13:43:52.096" v="2584" actId="14100"/>
          <ac:picMkLst>
            <pc:docMk/>
            <pc:sldMk cId="4287475400" sldId="291"/>
            <ac:picMk id="18444" creationId="{3106DD03-7D1D-8B45-816D-05D146A5824E}"/>
          </ac:picMkLst>
        </pc:picChg>
        <pc:picChg chg="add mod">
          <ac:chgData name="Goergen, YvesMaurice" userId="44f840f7-7bf2-431d-bc4f-990569b9d0ff" providerId="ADAL" clId="{2F1E63F0-BFEF-0E47-8C78-ED84D1B622D2}" dt="2022-03-24T20:20:43.750" v="4686" actId="14100"/>
          <ac:picMkLst>
            <pc:docMk/>
            <pc:sldMk cId="4287475400" sldId="291"/>
            <ac:picMk id="18446" creationId="{1734AD25-5F35-AE48-A238-1A26EEF4F2B6}"/>
          </ac:picMkLst>
        </pc:picChg>
        <pc:cxnChg chg="add mod">
          <ac:chgData name="Goergen, YvesMaurice" userId="44f840f7-7bf2-431d-bc4f-990569b9d0ff" providerId="ADAL" clId="{2F1E63F0-BFEF-0E47-8C78-ED84D1B622D2}" dt="2022-03-24T13:33:45.808" v="2528" actId="14100"/>
          <ac:cxnSpMkLst>
            <pc:docMk/>
            <pc:sldMk cId="4287475400" sldId="291"/>
            <ac:cxnSpMk id="4" creationId="{268002A1-3E28-6E46-83E3-24BE90E756D7}"/>
          </ac:cxnSpMkLst>
        </pc:cxnChg>
        <pc:cxnChg chg="add del mod">
          <ac:chgData name="Goergen, YvesMaurice" userId="44f840f7-7bf2-431d-bc4f-990569b9d0ff" providerId="ADAL" clId="{2F1E63F0-BFEF-0E47-8C78-ED84D1B622D2}" dt="2022-03-24T13:02:12.036" v="2335" actId="478"/>
          <ac:cxnSpMkLst>
            <pc:docMk/>
            <pc:sldMk cId="4287475400" sldId="291"/>
            <ac:cxnSpMk id="7" creationId="{F9859A41-7D5A-BE4F-ABF8-71A4872BB24F}"/>
          </ac:cxnSpMkLst>
        </pc:cxnChg>
        <pc:cxnChg chg="add mod">
          <ac:chgData name="Goergen, YvesMaurice" userId="44f840f7-7bf2-431d-bc4f-990569b9d0ff" providerId="ADAL" clId="{2F1E63F0-BFEF-0E47-8C78-ED84D1B622D2}" dt="2022-03-24T13:03:22.456" v="2368" actId="1038"/>
          <ac:cxnSpMkLst>
            <pc:docMk/>
            <pc:sldMk cId="4287475400" sldId="291"/>
            <ac:cxnSpMk id="13" creationId="{15194B54-F6C8-F043-A5B1-046311AAB267}"/>
          </ac:cxnSpMkLst>
        </pc:cxnChg>
        <pc:cxnChg chg="add mod">
          <ac:chgData name="Goergen, YvesMaurice" userId="44f840f7-7bf2-431d-bc4f-990569b9d0ff" providerId="ADAL" clId="{2F1E63F0-BFEF-0E47-8C78-ED84D1B622D2}" dt="2022-03-24T13:33:31.946" v="2527"/>
          <ac:cxnSpMkLst>
            <pc:docMk/>
            <pc:sldMk cId="4287475400" sldId="291"/>
            <ac:cxnSpMk id="14" creationId="{EA8DB3B0-0A0C-6241-9B0C-55427D4138CC}"/>
          </ac:cxnSpMkLst>
        </pc:cxnChg>
      </pc:sldChg>
      <pc:sldChg chg="addSp delSp modSp add mod">
        <pc:chgData name="Goergen, YvesMaurice" userId="44f840f7-7bf2-431d-bc4f-990569b9d0ff" providerId="ADAL" clId="{2F1E63F0-BFEF-0E47-8C78-ED84D1B622D2}" dt="2022-03-24T20:25:29.195" v="4749" actId="20577"/>
        <pc:sldMkLst>
          <pc:docMk/>
          <pc:sldMk cId="3954075600" sldId="292"/>
        </pc:sldMkLst>
        <pc:spChg chg="mod">
          <ac:chgData name="Goergen, YvesMaurice" userId="44f840f7-7bf2-431d-bc4f-990569b9d0ff" providerId="ADAL" clId="{2F1E63F0-BFEF-0E47-8C78-ED84D1B622D2}" dt="2022-03-24T15:35:00.265" v="3062" actId="403"/>
          <ac:spMkLst>
            <pc:docMk/>
            <pc:sldMk cId="3954075600" sldId="292"/>
            <ac:spMk id="3" creationId="{5CE6EAB6-127A-254D-B707-3629D15F4B1C}"/>
          </ac:spMkLst>
        </pc:spChg>
        <pc:spChg chg="add del mod">
          <ac:chgData name="Goergen, YvesMaurice" userId="44f840f7-7bf2-431d-bc4f-990569b9d0ff" providerId="ADAL" clId="{2F1E63F0-BFEF-0E47-8C78-ED84D1B622D2}" dt="2022-03-24T14:23:54.914" v="2598" actId="478"/>
          <ac:spMkLst>
            <pc:docMk/>
            <pc:sldMk cId="3954075600" sldId="292"/>
            <ac:spMk id="5" creationId="{B978AA64-7FFA-544B-91ED-66F8CE5A24B8}"/>
          </ac:spMkLst>
        </pc:spChg>
        <pc:spChg chg="add del mod">
          <ac:chgData name="Goergen, YvesMaurice" userId="44f840f7-7bf2-431d-bc4f-990569b9d0ff" providerId="ADAL" clId="{2F1E63F0-BFEF-0E47-8C78-ED84D1B622D2}" dt="2022-03-24T14:23:51.329" v="2597" actId="478"/>
          <ac:spMkLst>
            <pc:docMk/>
            <pc:sldMk cId="3954075600" sldId="292"/>
            <ac:spMk id="6" creationId="{0473448E-36AF-3B42-8807-2C25C6BEB114}"/>
          </ac:spMkLst>
        </pc:spChg>
        <pc:spChg chg="add del mod">
          <ac:chgData name="Goergen, YvesMaurice" userId="44f840f7-7bf2-431d-bc4f-990569b9d0ff" providerId="ADAL" clId="{2F1E63F0-BFEF-0E47-8C78-ED84D1B622D2}" dt="2022-03-24T14:23:51.329" v="2597" actId="478"/>
          <ac:spMkLst>
            <pc:docMk/>
            <pc:sldMk cId="3954075600" sldId="292"/>
            <ac:spMk id="7" creationId="{0EA0C54C-72F3-FF4F-A9C4-2CE7DBCFB5BA}"/>
          </ac:spMkLst>
        </pc:spChg>
        <pc:spChg chg="add del mod">
          <ac:chgData name="Goergen, YvesMaurice" userId="44f840f7-7bf2-431d-bc4f-990569b9d0ff" providerId="ADAL" clId="{2F1E63F0-BFEF-0E47-8C78-ED84D1B622D2}" dt="2022-03-24T14:23:46.026" v="2596" actId="478"/>
          <ac:spMkLst>
            <pc:docMk/>
            <pc:sldMk cId="3954075600" sldId="292"/>
            <ac:spMk id="8" creationId="{5FE3FD3A-A7BA-714C-8156-2508B10284CA}"/>
          </ac:spMkLst>
        </pc:spChg>
        <pc:spChg chg="add mod">
          <ac:chgData name="Goergen, YvesMaurice" userId="44f840f7-7bf2-431d-bc4f-990569b9d0ff" providerId="ADAL" clId="{2F1E63F0-BFEF-0E47-8C78-ED84D1B622D2}" dt="2022-03-24T20:25:07.668" v="4739"/>
          <ac:spMkLst>
            <pc:docMk/>
            <pc:sldMk cId="3954075600" sldId="292"/>
            <ac:spMk id="18" creationId="{AD1D2E32-7F30-1946-8FC5-73213983D777}"/>
          </ac:spMkLst>
        </pc:spChg>
        <pc:spChg chg="add mod">
          <ac:chgData name="Goergen, YvesMaurice" userId="44f840f7-7bf2-431d-bc4f-990569b9d0ff" providerId="ADAL" clId="{2F1E63F0-BFEF-0E47-8C78-ED84D1B622D2}" dt="2022-03-24T15:38:12.795" v="3070"/>
          <ac:spMkLst>
            <pc:docMk/>
            <pc:sldMk cId="3954075600" sldId="292"/>
            <ac:spMk id="19" creationId="{F5A12632-FA1E-ED45-A721-18E064EEF3B7}"/>
          </ac:spMkLst>
        </pc:spChg>
        <pc:spChg chg="add mod">
          <ac:chgData name="Goergen, YvesMaurice" userId="44f840f7-7bf2-431d-bc4f-990569b9d0ff" providerId="ADAL" clId="{2F1E63F0-BFEF-0E47-8C78-ED84D1B622D2}" dt="2022-03-24T15:38:12.798" v="3074"/>
          <ac:spMkLst>
            <pc:docMk/>
            <pc:sldMk cId="3954075600" sldId="292"/>
            <ac:spMk id="20" creationId="{9C7565A0-D343-184B-8E62-D41D23D2FBF2}"/>
          </ac:spMkLst>
        </pc:spChg>
        <pc:spChg chg="add del mod">
          <ac:chgData name="Goergen, YvesMaurice" userId="44f840f7-7bf2-431d-bc4f-990569b9d0ff" providerId="ADAL" clId="{2F1E63F0-BFEF-0E47-8C78-ED84D1B622D2}" dt="2022-03-24T18:57:05.838" v="4620" actId="478"/>
          <ac:spMkLst>
            <pc:docMk/>
            <pc:sldMk cId="3954075600" sldId="292"/>
            <ac:spMk id="21" creationId="{DA4534A4-EFAE-3F44-A406-F0E07ABC88B7}"/>
          </ac:spMkLst>
        </pc:spChg>
        <pc:spChg chg="add mod">
          <ac:chgData name="Goergen, YvesMaurice" userId="44f840f7-7bf2-431d-bc4f-990569b9d0ff" providerId="ADAL" clId="{2F1E63F0-BFEF-0E47-8C78-ED84D1B622D2}" dt="2022-03-24T14:41:19.474" v="2845"/>
          <ac:spMkLst>
            <pc:docMk/>
            <pc:sldMk cId="3954075600" sldId="292"/>
            <ac:spMk id="22" creationId="{40DBE0CD-2178-A445-A9D4-12A900550FC4}"/>
          </ac:spMkLst>
        </pc:spChg>
        <pc:spChg chg="add mod">
          <ac:chgData name="Goergen, YvesMaurice" userId="44f840f7-7bf2-431d-bc4f-990569b9d0ff" providerId="ADAL" clId="{2F1E63F0-BFEF-0E47-8C78-ED84D1B622D2}" dt="2022-03-24T14:41:24.588" v="2849"/>
          <ac:spMkLst>
            <pc:docMk/>
            <pc:sldMk cId="3954075600" sldId="292"/>
            <ac:spMk id="23" creationId="{94C95F2B-0BE7-D849-940A-52F774BC6938}"/>
          </ac:spMkLst>
        </pc:spChg>
        <pc:spChg chg="add mod">
          <ac:chgData name="Goergen, YvesMaurice" userId="44f840f7-7bf2-431d-bc4f-990569b9d0ff" providerId="ADAL" clId="{2F1E63F0-BFEF-0E47-8C78-ED84D1B622D2}" dt="2022-03-24T14:41:35.304" v="2863" actId="20577"/>
          <ac:spMkLst>
            <pc:docMk/>
            <pc:sldMk cId="3954075600" sldId="292"/>
            <ac:spMk id="24" creationId="{BE57B15A-B2D8-2340-AA36-B50B1FC1AE10}"/>
          </ac:spMkLst>
        </pc:spChg>
        <pc:spChg chg="add mod">
          <ac:chgData name="Goergen, YvesMaurice" userId="44f840f7-7bf2-431d-bc4f-990569b9d0ff" providerId="ADAL" clId="{2F1E63F0-BFEF-0E47-8C78-ED84D1B622D2}" dt="2022-03-24T18:24:05.997" v="4617"/>
          <ac:spMkLst>
            <pc:docMk/>
            <pc:sldMk cId="3954075600" sldId="292"/>
            <ac:spMk id="25" creationId="{DC7DEFE7-B057-4E44-82F2-534E045E88E3}"/>
          </ac:spMkLst>
        </pc:spChg>
        <pc:spChg chg="add mod">
          <ac:chgData name="Goergen, YvesMaurice" userId="44f840f7-7bf2-431d-bc4f-990569b9d0ff" providerId="ADAL" clId="{2F1E63F0-BFEF-0E47-8C78-ED84D1B622D2}" dt="2022-03-24T20:25:29.195" v="4749" actId="20577"/>
          <ac:spMkLst>
            <pc:docMk/>
            <pc:sldMk cId="3954075600" sldId="292"/>
            <ac:spMk id="27" creationId="{69BC97B3-6BC5-794C-82DB-00344653F2D0}"/>
          </ac:spMkLst>
        </pc:spChg>
        <pc:spChg chg="del">
          <ac:chgData name="Goergen, YvesMaurice" userId="44f840f7-7bf2-431d-bc4f-990569b9d0ff" providerId="ADAL" clId="{2F1E63F0-BFEF-0E47-8C78-ED84D1B622D2}" dt="2022-03-24T14:23:51.329" v="2597" actId="478"/>
          <ac:spMkLst>
            <pc:docMk/>
            <pc:sldMk cId="3954075600" sldId="292"/>
            <ac:spMk id="47" creationId="{4D51A046-F98E-44A7-ADD1-AEB3FFD4BD60}"/>
          </ac:spMkLst>
        </pc:spChg>
        <pc:picChg chg="add del mod">
          <ac:chgData name="Goergen, YvesMaurice" userId="44f840f7-7bf2-431d-bc4f-990569b9d0ff" providerId="ADAL" clId="{2F1E63F0-BFEF-0E47-8C78-ED84D1B622D2}" dt="2022-03-24T13:39:14.837" v="2546" actId="478"/>
          <ac:picMkLst>
            <pc:docMk/>
            <pc:sldMk cId="3954075600" sldId="292"/>
            <ac:picMk id="4" creationId="{110FC620-8E52-CD4F-8BD6-19876A64C255}"/>
          </ac:picMkLst>
        </pc:picChg>
        <pc:picChg chg="add del mod">
          <ac:chgData name="Goergen, YvesMaurice" userId="44f840f7-7bf2-431d-bc4f-990569b9d0ff" providerId="ADAL" clId="{2F1E63F0-BFEF-0E47-8C78-ED84D1B622D2}" dt="2022-03-24T14:23:51.329" v="2597" actId="478"/>
          <ac:picMkLst>
            <pc:docMk/>
            <pc:sldMk cId="3954075600" sldId="292"/>
            <ac:picMk id="9" creationId="{F5056720-915A-234C-A1F4-71AB351D6593}"/>
          </ac:picMkLst>
        </pc:picChg>
        <pc:picChg chg="add del mod">
          <ac:chgData name="Goergen, YvesMaurice" userId="44f840f7-7bf2-431d-bc4f-990569b9d0ff" providerId="ADAL" clId="{2F1E63F0-BFEF-0E47-8C78-ED84D1B622D2}" dt="2022-03-24T14:23:51.329" v="2597" actId="478"/>
          <ac:picMkLst>
            <pc:docMk/>
            <pc:sldMk cId="3954075600" sldId="292"/>
            <ac:picMk id="10" creationId="{BD2001A2-9C03-1F4F-AD4E-3C134E5D70B2}"/>
          </ac:picMkLst>
        </pc:picChg>
        <pc:picChg chg="add del mod">
          <ac:chgData name="Goergen, YvesMaurice" userId="44f840f7-7bf2-431d-bc4f-990569b9d0ff" providerId="ADAL" clId="{2F1E63F0-BFEF-0E47-8C78-ED84D1B622D2}" dt="2022-03-24T14:27:15.017" v="2623" actId="478"/>
          <ac:picMkLst>
            <pc:docMk/>
            <pc:sldMk cId="3954075600" sldId="292"/>
            <ac:picMk id="11" creationId="{1E9C9BC3-C0A8-C54A-826D-8BE27ECA04D7}"/>
          </ac:picMkLst>
        </pc:picChg>
        <pc:picChg chg="add mod">
          <ac:chgData name="Goergen, YvesMaurice" userId="44f840f7-7bf2-431d-bc4f-990569b9d0ff" providerId="ADAL" clId="{2F1E63F0-BFEF-0E47-8C78-ED84D1B622D2}" dt="2022-03-24T14:34:57.893" v="2760" actId="408"/>
          <ac:picMkLst>
            <pc:docMk/>
            <pc:sldMk cId="3954075600" sldId="292"/>
            <ac:picMk id="13" creationId="{CAE180F6-E887-F544-97E3-549E49F298C8}"/>
          </ac:picMkLst>
        </pc:picChg>
        <pc:picChg chg="add del mod">
          <ac:chgData name="Goergen, YvesMaurice" userId="44f840f7-7bf2-431d-bc4f-990569b9d0ff" providerId="ADAL" clId="{2F1E63F0-BFEF-0E47-8C78-ED84D1B622D2}" dt="2022-03-24T18:57:05.838" v="4620" actId="478"/>
          <ac:picMkLst>
            <pc:docMk/>
            <pc:sldMk cId="3954075600" sldId="292"/>
            <ac:picMk id="17" creationId="{98E7FD69-CE53-CC41-9A0E-65CBB79B122D}"/>
          </ac:picMkLst>
        </pc:picChg>
        <pc:picChg chg="add mod">
          <ac:chgData name="Goergen, YvesMaurice" userId="44f840f7-7bf2-431d-bc4f-990569b9d0ff" providerId="ADAL" clId="{2F1E63F0-BFEF-0E47-8C78-ED84D1B622D2}" dt="2022-03-24T18:57:14.750" v="4621"/>
          <ac:picMkLst>
            <pc:docMk/>
            <pc:sldMk cId="3954075600" sldId="292"/>
            <ac:picMk id="26" creationId="{D4E3784B-084E-D547-B874-ABB001B59857}"/>
          </ac:picMkLst>
        </pc:picChg>
        <pc:picChg chg="add mod">
          <ac:chgData name="Goergen, YvesMaurice" userId="44f840f7-7bf2-431d-bc4f-990569b9d0ff" providerId="ADAL" clId="{2F1E63F0-BFEF-0E47-8C78-ED84D1B622D2}" dt="2022-03-24T20:25:07.666" v="4737"/>
          <ac:picMkLst>
            <pc:docMk/>
            <pc:sldMk cId="3954075600" sldId="292"/>
            <ac:picMk id="19458" creationId="{4620382E-0204-0A4D-B292-3C631ED70135}"/>
          </ac:picMkLst>
        </pc:picChg>
        <pc:picChg chg="add mod">
          <ac:chgData name="Goergen, YvesMaurice" userId="44f840f7-7bf2-431d-bc4f-990569b9d0ff" providerId="ADAL" clId="{2F1E63F0-BFEF-0E47-8C78-ED84D1B622D2}" dt="2022-03-24T14:34:57.893" v="2760" actId="408"/>
          <ac:picMkLst>
            <pc:docMk/>
            <pc:sldMk cId="3954075600" sldId="292"/>
            <ac:picMk id="19460" creationId="{DE34086B-85FE-7348-B6FC-39801C326D2F}"/>
          </ac:picMkLst>
        </pc:picChg>
      </pc:sldChg>
      <pc:sldChg chg="addSp delSp modSp add mod ord">
        <pc:chgData name="Goergen, YvesMaurice" userId="44f840f7-7bf2-431d-bc4f-990569b9d0ff" providerId="ADAL" clId="{2F1E63F0-BFEF-0E47-8C78-ED84D1B622D2}" dt="2022-03-25T07:41:13.327" v="4892" actId="403"/>
        <pc:sldMkLst>
          <pc:docMk/>
          <pc:sldMk cId="70005203" sldId="293"/>
        </pc:sldMkLst>
        <pc:spChg chg="add del mod">
          <ac:chgData name="Goergen, YvesMaurice" userId="44f840f7-7bf2-431d-bc4f-990569b9d0ff" providerId="ADAL" clId="{2F1E63F0-BFEF-0E47-8C78-ED84D1B622D2}" dt="2022-03-24T14:45:07.276" v="2990"/>
          <ac:spMkLst>
            <pc:docMk/>
            <pc:sldMk cId="70005203" sldId="293"/>
            <ac:spMk id="2" creationId="{4E409582-F3DF-4D4B-A460-9F3B3140C0EE}"/>
          </ac:spMkLst>
        </pc:spChg>
        <pc:spChg chg="mod">
          <ac:chgData name="Goergen, YvesMaurice" userId="44f840f7-7bf2-431d-bc4f-990569b9d0ff" providerId="ADAL" clId="{2F1E63F0-BFEF-0E47-8C78-ED84D1B622D2}" dt="2022-03-24T16:21:02.719" v="4330" actId="403"/>
          <ac:spMkLst>
            <pc:docMk/>
            <pc:sldMk cId="70005203" sldId="293"/>
            <ac:spMk id="3" creationId="{5CE6EAB6-127A-254D-B707-3629D15F4B1C}"/>
          </ac:spMkLst>
        </pc:spChg>
        <pc:spChg chg="add mod">
          <ac:chgData name="Goergen, YvesMaurice" userId="44f840f7-7bf2-431d-bc4f-990569b9d0ff" providerId="ADAL" clId="{2F1E63F0-BFEF-0E47-8C78-ED84D1B622D2}" dt="2022-03-25T07:39:55.170" v="4858" actId="208"/>
          <ac:spMkLst>
            <pc:docMk/>
            <pc:sldMk cId="70005203" sldId="293"/>
            <ac:spMk id="4" creationId="{1DB0E60C-6D08-A240-84AC-2F56C5A6C0BA}"/>
          </ac:spMkLst>
        </pc:spChg>
        <pc:spChg chg="add mod">
          <ac:chgData name="Goergen, YvesMaurice" userId="44f840f7-7bf2-431d-bc4f-990569b9d0ff" providerId="ADAL" clId="{2F1E63F0-BFEF-0E47-8C78-ED84D1B622D2}" dt="2022-03-24T20:24:08.869" v="4732" actId="403"/>
          <ac:spMkLst>
            <pc:docMk/>
            <pc:sldMk cId="70005203" sldId="293"/>
            <ac:spMk id="5" creationId="{D4533247-54B5-5C44-9B98-56BDD2129D38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6" creationId="{F41BC4F2-EB61-D646-94AB-E6162FF9AC46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7" creationId="{C31562C2-6A4E-A041-91B6-652274476309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8" creationId="{1C0C8A9C-C6A9-6440-BC79-99C87C1933DA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9" creationId="{C02D269D-B5F6-884C-A391-A178D4E9A737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0" creationId="{7F20485C-965E-7E48-B7B0-A6B87E2696A4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1" creationId="{2D32AE1C-4EB3-AA4A-8B13-094E84A67AFB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2" creationId="{B2890293-450C-E548-980F-879B1BE93974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3" creationId="{E54BF0C6-7D9B-004B-A835-0C02FB4CC5A9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4" creationId="{077A8AF6-4FDE-6D43-A6D3-FF1FA21BFF97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5" creationId="{A27D78AE-F48F-AA48-AB0F-4DC4B56D4790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6" creationId="{9035692E-DEE9-4D49-BB66-67E458F9FDF6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7" creationId="{0D08A2F1-6CBD-7F4F-8097-46B354386E10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8" creationId="{FE3FEF9A-8F19-F64D-91EC-DB1ADBD4865D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19" creationId="{1F5C934E-6A9F-714E-A70C-217A2F601BB7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20" creationId="{C3E6BBC3-2135-6B43-8235-8D8CAF10931F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21" creationId="{C248933B-77D7-874A-97C7-02E7873E4C4D}"/>
          </ac:spMkLst>
        </pc:spChg>
        <pc:spChg chg="add del mod">
          <ac:chgData name="Goergen, YvesMaurice" userId="44f840f7-7bf2-431d-bc4f-990569b9d0ff" providerId="ADAL" clId="{2F1E63F0-BFEF-0E47-8C78-ED84D1B622D2}" dt="2022-03-24T14:52:45.656" v="3022" actId="478"/>
          <ac:spMkLst>
            <pc:docMk/>
            <pc:sldMk cId="70005203" sldId="293"/>
            <ac:spMk id="22" creationId="{1D8F3BDC-FFD1-CA43-9919-D2DD363B68E0}"/>
          </ac:spMkLst>
        </pc:spChg>
        <pc:spChg chg="add del mod">
          <ac:chgData name="Goergen, YvesMaurice" userId="44f840f7-7bf2-431d-bc4f-990569b9d0ff" providerId="ADAL" clId="{2F1E63F0-BFEF-0E47-8C78-ED84D1B622D2}" dt="2022-03-24T14:52:43.770" v="3021"/>
          <ac:spMkLst>
            <pc:docMk/>
            <pc:sldMk cId="70005203" sldId="293"/>
            <ac:spMk id="23" creationId="{9B006A23-7EEB-4E41-A294-CF5FAC5C24AD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26" creationId="{94B9F661-1361-684E-8A86-98F84C769BB7}"/>
          </ac:spMkLst>
        </pc:spChg>
        <pc:spChg chg="add del mod">
          <ac:chgData name="Goergen, YvesMaurice" userId="44f840f7-7bf2-431d-bc4f-990569b9d0ff" providerId="ADAL" clId="{2F1E63F0-BFEF-0E47-8C78-ED84D1B622D2}" dt="2022-03-24T15:46:48.909" v="3236"/>
          <ac:spMkLst>
            <pc:docMk/>
            <pc:sldMk cId="70005203" sldId="293"/>
            <ac:spMk id="29" creationId="{C7A080AE-23E0-3F4E-810E-02AFCE7C2D89}"/>
          </ac:spMkLst>
        </pc:spChg>
        <pc:spChg chg="add mod">
          <ac:chgData name="Goergen, YvesMaurice" userId="44f840f7-7bf2-431d-bc4f-990569b9d0ff" providerId="ADAL" clId="{2F1E63F0-BFEF-0E47-8C78-ED84D1B622D2}" dt="2022-03-24T18:15:14.734" v="4550" actId="465"/>
          <ac:spMkLst>
            <pc:docMk/>
            <pc:sldMk cId="70005203" sldId="293"/>
            <ac:spMk id="30" creationId="{969E4A66-2340-5541-9FE9-79C5FA36309F}"/>
          </ac:spMkLst>
        </pc:spChg>
        <pc:spChg chg="add mod">
          <ac:chgData name="Goergen, YvesMaurice" userId="44f840f7-7bf2-431d-bc4f-990569b9d0ff" providerId="ADAL" clId="{2F1E63F0-BFEF-0E47-8C78-ED84D1B622D2}" dt="2022-03-24T19:38:54.361" v="4674" actId="14100"/>
          <ac:spMkLst>
            <pc:docMk/>
            <pc:sldMk cId="70005203" sldId="293"/>
            <ac:spMk id="31" creationId="{4867AD8D-C895-304E-8C04-51C91C1C0DC3}"/>
          </ac:spMkLst>
        </pc:spChg>
        <pc:spChg chg="add mod">
          <ac:chgData name="Goergen, YvesMaurice" userId="44f840f7-7bf2-431d-bc4f-990569b9d0ff" providerId="ADAL" clId="{2F1E63F0-BFEF-0E47-8C78-ED84D1B622D2}" dt="2022-03-24T15:57:54.028" v="3521" actId="1035"/>
          <ac:spMkLst>
            <pc:docMk/>
            <pc:sldMk cId="70005203" sldId="293"/>
            <ac:spMk id="32" creationId="{287033DC-6F01-5544-977D-5F47D567E89B}"/>
          </ac:spMkLst>
        </pc:spChg>
        <pc:spChg chg="add mod">
          <ac:chgData name="Goergen, YvesMaurice" userId="44f840f7-7bf2-431d-bc4f-990569b9d0ff" providerId="ADAL" clId="{2F1E63F0-BFEF-0E47-8C78-ED84D1B622D2}" dt="2022-03-24T18:18:02.815" v="4578" actId="1038"/>
          <ac:spMkLst>
            <pc:docMk/>
            <pc:sldMk cId="70005203" sldId="293"/>
            <ac:spMk id="33" creationId="{581C8D3E-F5C4-0442-87EA-92DD1AE35E29}"/>
          </ac:spMkLst>
        </pc:spChg>
        <pc:spChg chg="add mod topLvl">
          <ac:chgData name="Goergen, YvesMaurice" userId="44f840f7-7bf2-431d-bc4f-990569b9d0ff" providerId="ADAL" clId="{2F1E63F0-BFEF-0E47-8C78-ED84D1B622D2}" dt="2022-03-25T07:38:29.296" v="4815" actId="14100"/>
          <ac:spMkLst>
            <pc:docMk/>
            <pc:sldMk cId="70005203" sldId="293"/>
            <ac:spMk id="34" creationId="{B0B3364D-2635-454D-903E-53753F381CC2}"/>
          </ac:spMkLst>
        </pc:spChg>
        <pc:spChg chg="add del mod">
          <ac:chgData name="Goergen, YvesMaurice" userId="44f840f7-7bf2-431d-bc4f-990569b9d0ff" providerId="ADAL" clId="{2F1E63F0-BFEF-0E47-8C78-ED84D1B622D2}" dt="2022-03-24T15:49:42.324" v="3340"/>
          <ac:spMkLst>
            <pc:docMk/>
            <pc:sldMk cId="70005203" sldId="293"/>
            <ac:spMk id="35" creationId="{6F582699-C3A2-FC4D-9C35-0921937D76BE}"/>
          </ac:spMkLst>
        </pc:spChg>
        <pc:spChg chg="add mod">
          <ac:chgData name="Goergen, YvesMaurice" userId="44f840f7-7bf2-431d-bc4f-990569b9d0ff" providerId="ADAL" clId="{2F1E63F0-BFEF-0E47-8C78-ED84D1B622D2}" dt="2022-03-24T18:19:49.666" v="4597"/>
          <ac:spMkLst>
            <pc:docMk/>
            <pc:sldMk cId="70005203" sldId="293"/>
            <ac:spMk id="36" creationId="{8730FD2B-0A9C-5B47-894F-F489F2EAECF0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37" creationId="{41269B38-F84C-FA4D-A3F7-DA60EA6205FB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38" creationId="{8CFFB111-6588-A54B-9B5C-294E65B7449D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39" creationId="{481DDEDB-5AA7-F24E-A083-3AB5C3AFF99D}"/>
          </ac:spMkLst>
        </pc:spChg>
        <pc:spChg chg="add mod">
          <ac:chgData name="Goergen, YvesMaurice" userId="44f840f7-7bf2-431d-bc4f-990569b9d0ff" providerId="ADAL" clId="{2F1E63F0-BFEF-0E47-8C78-ED84D1B622D2}" dt="2022-03-24T18:19:44.098" v="4593" actId="465"/>
          <ac:spMkLst>
            <pc:docMk/>
            <pc:sldMk cId="70005203" sldId="293"/>
            <ac:spMk id="40" creationId="{1BF0D5C7-EB14-E34A-B2B2-3D4A4170B994}"/>
          </ac:spMkLst>
        </pc:spChg>
        <pc:spChg chg="add mod">
          <ac:chgData name="Goergen, YvesMaurice" userId="44f840f7-7bf2-431d-bc4f-990569b9d0ff" providerId="ADAL" clId="{2F1E63F0-BFEF-0E47-8C78-ED84D1B622D2}" dt="2022-03-24T18:20:11.423" v="4599" actId="20577"/>
          <ac:spMkLst>
            <pc:docMk/>
            <pc:sldMk cId="70005203" sldId="293"/>
            <ac:spMk id="41" creationId="{BC19F805-1D73-D843-9FCB-26F9AEAE4ABA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42" creationId="{7335BBF0-AB46-9B4A-9D13-ABCA9EF991BE}"/>
          </ac:spMkLst>
        </pc:spChg>
        <pc:spChg chg="add mod">
          <ac:chgData name="Goergen, YvesMaurice" userId="44f840f7-7bf2-431d-bc4f-990569b9d0ff" providerId="ADAL" clId="{2F1E63F0-BFEF-0E47-8C78-ED84D1B622D2}" dt="2022-03-25T07:41:13.327" v="4892" actId="403"/>
          <ac:spMkLst>
            <pc:docMk/>
            <pc:sldMk cId="70005203" sldId="293"/>
            <ac:spMk id="43" creationId="{590F8745-8D45-D74E-A08D-39BDFFC5D4A3}"/>
          </ac:spMkLst>
        </pc:spChg>
        <pc:spChg chg="add del mod">
          <ac:chgData name="Goergen, YvesMaurice" userId="44f840f7-7bf2-431d-bc4f-990569b9d0ff" providerId="ADAL" clId="{2F1E63F0-BFEF-0E47-8C78-ED84D1B622D2}" dt="2022-03-24T16:16:37.452" v="4207"/>
          <ac:spMkLst>
            <pc:docMk/>
            <pc:sldMk cId="70005203" sldId="293"/>
            <ac:spMk id="43" creationId="{CB3F8245-A42D-1E4C-9A8B-43A28F5AB58B}"/>
          </ac:spMkLst>
        </pc:spChg>
        <pc:spChg chg="add del mod">
          <ac:chgData name="Goergen, YvesMaurice" userId="44f840f7-7bf2-431d-bc4f-990569b9d0ff" providerId="ADAL" clId="{2F1E63F0-BFEF-0E47-8C78-ED84D1B622D2}" dt="2022-03-24T16:16:24.062" v="4204" actId="478"/>
          <ac:spMkLst>
            <pc:docMk/>
            <pc:sldMk cId="70005203" sldId="293"/>
            <ac:spMk id="44" creationId="{3B6310D6-1D9D-B24B-B6AD-08DE2E4C18A2}"/>
          </ac:spMkLst>
        </pc:spChg>
        <pc:spChg chg="add mod topLvl">
          <ac:chgData name="Goergen, YvesMaurice" userId="44f840f7-7bf2-431d-bc4f-990569b9d0ff" providerId="ADAL" clId="{2F1E63F0-BFEF-0E47-8C78-ED84D1B622D2}" dt="2022-03-25T07:38:31.891" v="4822" actId="1035"/>
          <ac:spMkLst>
            <pc:docMk/>
            <pc:sldMk cId="70005203" sldId="293"/>
            <ac:spMk id="46" creationId="{6D990CA3-311C-3B42-9FA7-61C32F08A88A}"/>
          </ac:spMkLst>
        </pc:spChg>
        <pc:spChg chg="del">
          <ac:chgData name="Goergen, YvesMaurice" userId="44f840f7-7bf2-431d-bc4f-990569b9d0ff" providerId="ADAL" clId="{2F1E63F0-BFEF-0E47-8C78-ED84D1B622D2}" dt="2022-03-24T09:27:47.635" v="220" actId="478"/>
          <ac:spMkLst>
            <pc:docMk/>
            <pc:sldMk cId="70005203" sldId="293"/>
            <ac:spMk id="47" creationId="{4D51A046-F98E-44A7-ADD1-AEB3FFD4BD60}"/>
          </ac:spMkLst>
        </pc:spChg>
        <pc:spChg chg="add mod topLvl">
          <ac:chgData name="Goergen, YvesMaurice" userId="44f840f7-7bf2-431d-bc4f-990569b9d0ff" providerId="ADAL" clId="{2F1E63F0-BFEF-0E47-8C78-ED84D1B622D2}" dt="2022-03-25T07:38:34.947" v="4831" actId="1035"/>
          <ac:spMkLst>
            <pc:docMk/>
            <pc:sldMk cId="70005203" sldId="293"/>
            <ac:spMk id="48" creationId="{35924B0F-3663-B54E-B3EA-6B1B7C483CE0}"/>
          </ac:spMkLst>
        </pc:spChg>
        <pc:spChg chg="add mod topLvl">
          <ac:chgData name="Goergen, YvesMaurice" userId="44f840f7-7bf2-431d-bc4f-990569b9d0ff" providerId="ADAL" clId="{2F1E63F0-BFEF-0E47-8C78-ED84D1B622D2}" dt="2022-03-25T07:37:46.907" v="4806" actId="165"/>
          <ac:spMkLst>
            <pc:docMk/>
            <pc:sldMk cId="70005203" sldId="293"/>
            <ac:spMk id="49" creationId="{D4419544-9D62-E342-B95B-9E12ADE9AC01}"/>
          </ac:spMkLst>
        </pc:spChg>
        <pc:spChg chg="add del mod topLvl">
          <ac:chgData name="Goergen, YvesMaurice" userId="44f840f7-7bf2-431d-bc4f-990569b9d0ff" providerId="ADAL" clId="{2F1E63F0-BFEF-0E47-8C78-ED84D1B622D2}" dt="2022-03-25T07:39:00.818" v="4848" actId="478"/>
          <ac:spMkLst>
            <pc:docMk/>
            <pc:sldMk cId="70005203" sldId="293"/>
            <ac:spMk id="50" creationId="{4749D176-564A-B14E-B2A2-FE41997DB1F1}"/>
          </ac:spMkLst>
        </pc:spChg>
        <pc:spChg chg="add mod topLvl">
          <ac:chgData name="Goergen, YvesMaurice" userId="44f840f7-7bf2-431d-bc4f-990569b9d0ff" providerId="ADAL" clId="{2F1E63F0-BFEF-0E47-8C78-ED84D1B622D2}" dt="2022-03-25T07:38:39.304" v="4844" actId="1035"/>
          <ac:spMkLst>
            <pc:docMk/>
            <pc:sldMk cId="70005203" sldId="293"/>
            <ac:spMk id="51" creationId="{7CF15ACE-1658-E24C-93A0-E13ADAA33B77}"/>
          </ac:spMkLst>
        </pc:spChg>
        <pc:spChg chg="add mod topLvl">
          <ac:chgData name="Goergen, YvesMaurice" userId="44f840f7-7bf2-431d-bc4f-990569b9d0ff" providerId="ADAL" clId="{2F1E63F0-BFEF-0E47-8C78-ED84D1B622D2}" dt="2022-03-25T07:37:46.907" v="4806" actId="165"/>
          <ac:spMkLst>
            <pc:docMk/>
            <pc:sldMk cId="70005203" sldId="293"/>
            <ac:spMk id="52" creationId="{26BD93C8-F7EF-BB4E-9727-F30A120C2392}"/>
          </ac:spMkLst>
        </pc:spChg>
        <pc:spChg chg="add del mod">
          <ac:chgData name="Goergen, YvesMaurice" userId="44f840f7-7bf2-431d-bc4f-990569b9d0ff" providerId="ADAL" clId="{2F1E63F0-BFEF-0E47-8C78-ED84D1B622D2}" dt="2022-03-24T16:03:05.669" v="3592" actId="478"/>
          <ac:spMkLst>
            <pc:docMk/>
            <pc:sldMk cId="70005203" sldId="293"/>
            <ac:spMk id="53" creationId="{BCD2E74C-12BB-F049-AF0C-5B5DB9F2D0A1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54" creationId="{402F2737-E9AE-BC46-90B4-4BD63E0EC99D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55" creationId="{733ADD28-05AA-8746-A22D-C3246BD70536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56" creationId="{9BFCFA64-AFB3-F344-81FC-63C941F8901B}"/>
          </ac:spMkLst>
        </pc:spChg>
        <pc:spChg chg="add mod">
          <ac:chgData name="Goergen, YvesMaurice" userId="44f840f7-7bf2-431d-bc4f-990569b9d0ff" providerId="ADAL" clId="{2F1E63F0-BFEF-0E47-8C78-ED84D1B622D2}" dt="2022-03-24T18:18:20.285" v="4591" actId="1036"/>
          <ac:spMkLst>
            <pc:docMk/>
            <pc:sldMk cId="70005203" sldId="293"/>
            <ac:spMk id="57" creationId="{A0ECDB83-175E-DB48-8959-4518B78F886A}"/>
          </ac:spMkLst>
        </pc:spChg>
        <pc:spChg chg="add mod">
          <ac:chgData name="Goergen, YvesMaurice" userId="44f840f7-7bf2-431d-bc4f-990569b9d0ff" providerId="ADAL" clId="{2F1E63F0-BFEF-0E47-8C78-ED84D1B622D2}" dt="2022-03-24T20:24:00.287" v="4730" actId="403"/>
          <ac:spMkLst>
            <pc:docMk/>
            <pc:sldMk cId="70005203" sldId="293"/>
            <ac:spMk id="59" creationId="{F0CD9B47-21EC-2E43-9638-6D170181A01E}"/>
          </ac:spMkLst>
        </pc:spChg>
        <pc:spChg chg="add mod">
          <ac:chgData name="Goergen, YvesMaurice" userId="44f840f7-7bf2-431d-bc4f-990569b9d0ff" providerId="ADAL" clId="{2F1E63F0-BFEF-0E47-8C78-ED84D1B622D2}" dt="2022-03-24T20:24:14.705" v="4733" actId="403"/>
          <ac:spMkLst>
            <pc:docMk/>
            <pc:sldMk cId="70005203" sldId="293"/>
            <ac:spMk id="60" creationId="{5AEF30F7-CEE7-B148-B1A4-B224938ECAE9}"/>
          </ac:spMkLst>
        </pc:spChg>
        <pc:spChg chg="add del mod">
          <ac:chgData name="Goergen, YvesMaurice" userId="44f840f7-7bf2-431d-bc4f-990569b9d0ff" providerId="ADAL" clId="{2F1E63F0-BFEF-0E47-8C78-ED84D1B622D2}" dt="2022-03-24T18:18:05.610" v="4580"/>
          <ac:spMkLst>
            <pc:docMk/>
            <pc:sldMk cId="70005203" sldId="293"/>
            <ac:spMk id="61" creationId="{0D3AB38C-78A1-3346-9999-177C17ABAAB3}"/>
          </ac:spMkLst>
        </pc:spChg>
        <pc:grpChg chg="add del mod">
          <ac:chgData name="Goergen, YvesMaurice" userId="44f840f7-7bf2-431d-bc4f-990569b9d0ff" providerId="ADAL" clId="{2F1E63F0-BFEF-0E47-8C78-ED84D1B622D2}" dt="2022-03-25T07:37:46.907" v="4806" actId="165"/>
          <ac:grpSpMkLst>
            <pc:docMk/>
            <pc:sldMk cId="70005203" sldId="293"/>
            <ac:grpSpMk id="45" creationId="{7595244F-6419-D14F-8B90-C4C3F29A7E26}"/>
          </ac:grpSpMkLst>
        </pc:grpChg>
        <pc:grpChg chg="add mod">
          <ac:chgData name="Goergen, YvesMaurice" userId="44f840f7-7bf2-431d-bc4f-990569b9d0ff" providerId="ADAL" clId="{2F1E63F0-BFEF-0E47-8C78-ED84D1B622D2}" dt="2022-03-24T18:18:20.285" v="4591" actId="1036"/>
          <ac:grpSpMkLst>
            <pc:docMk/>
            <pc:sldMk cId="70005203" sldId="293"/>
            <ac:grpSpMk id="62" creationId="{6803FB4E-E54C-DF40-ABD9-060EE9700318}"/>
          </ac:grpSpMkLst>
        </pc:grpChg>
        <pc:grpChg chg="add mod">
          <ac:chgData name="Goergen, YvesMaurice" userId="44f840f7-7bf2-431d-bc4f-990569b9d0ff" providerId="ADAL" clId="{2F1E63F0-BFEF-0E47-8C78-ED84D1B622D2}" dt="2022-03-24T18:19:49.666" v="4597"/>
          <ac:grpSpMkLst>
            <pc:docMk/>
            <pc:sldMk cId="70005203" sldId="293"/>
            <ac:grpSpMk id="63" creationId="{A80F49B5-CBDA-894D-92FB-CCA2C21276CA}"/>
          </ac:grpSpMkLst>
        </pc:grpChg>
        <pc:picChg chg="add mod">
          <ac:chgData name="Goergen, YvesMaurice" userId="44f840f7-7bf2-431d-bc4f-990569b9d0ff" providerId="ADAL" clId="{2F1E63F0-BFEF-0E47-8C78-ED84D1B622D2}" dt="2022-03-25T07:41:02.906" v="4891"/>
          <ac:picMkLst>
            <pc:docMk/>
            <pc:sldMk cId="70005203" sldId="293"/>
            <ac:picMk id="2" creationId="{F7C8645E-C8F6-3649-B8CB-33010C1F74A1}"/>
          </ac:picMkLst>
        </pc:picChg>
        <pc:picChg chg="add del mod">
          <ac:chgData name="Goergen, YvesMaurice" userId="44f840f7-7bf2-431d-bc4f-990569b9d0ff" providerId="ADAL" clId="{2F1E63F0-BFEF-0E47-8C78-ED84D1B622D2}" dt="2022-03-24T14:52:47.076" v="3023" actId="478"/>
          <ac:picMkLst>
            <pc:docMk/>
            <pc:sldMk cId="70005203" sldId="293"/>
            <ac:picMk id="4" creationId="{C704F35E-C998-1646-A0F0-2F10A7B7FD29}"/>
          </ac:picMkLst>
        </pc:picChg>
        <pc:picChg chg="add mod">
          <ac:chgData name="Goergen, YvesMaurice" userId="44f840f7-7bf2-431d-bc4f-990569b9d0ff" providerId="ADAL" clId="{2F1E63F0-BFEF-0E47-8C78-ED84D1B622D2}" dt="2022-03-24T18:18:20.285" v="4591" actId="1036"/>
          <ac:picMkLst>
            <pc:docMk/>
            <pc:sldMk cId="70005203" sldId="293"/>
            <ac:picMk id="25" creationId="{525EC6F7-5766-5746-8DEE-14B6C8DC1168}"/>
          </ac:picMkLst>
        </pc:picChg>
        <pc:picChg chg="add mod">
          <ac:chgData name="Goergen, YvesMaurice" userId="44f840f7-7bf2-431d-bc4f-990569b9d0ff" providerId="ADAL" clId="{2F1E63F0-BFEF-0E47-8C78-ED84D1B622D2}" dt="2022-03-24T14:54:19.745" v="3031" actId="571"/>
          <ac:picMkLst>
            <pc:docMk/>
            <pc:sldMk cId="70005203" sldId="293"/>
            <ac:picMk id="27" creationId="{33BBEE7B-22CE-BB4B-B614-2EF3C725769F}"/>
          </ac:picMkLst>
        </pc:picChg>
        <pc:picChg chg="add del mod">
          <ac:chgData name="Goergen, YvesMaurice" userId="44f840f7-7bf2-431d-bc4f-990569b9d0ff" providerId="ADAL" clId="{2F1E63F0-BFEF-0E47-8C78-ED84D1B622D2}" dt="2022-03-24T14:56:43.098" v="3046" actId="478"/>
          <ac:picMkLst>
            <pc:docMk/>
            <pc:sldMk cId="70005203" sldId="293"/>
            <ac:picMk id="28" creationId="{85BB1E49-1B5B-CF4C-A6E8-54C4865F516B}"/>
          </ac:picMkLst>
        </pc:picChg>
        <pc:picChg chg="add del mod">
          <ac:chgData name="Goergen, YvesMaurice" userId="44f840f7-7bf2-431d-bc4f-990569b9d0ff" providerId="ADAL" clId="{2F1E63F0-BFEF-0E47-8C78-ED84D1B622D2}" dt="2022-03-24T16:10:13.581" v="3994" actId="478"/>
          <ac:picMkLst>
            <pc:docMk/>
            <pc:sldMk cId="70005203" sldId="293"/>
            <ac:picMk id="58" creationId="{BC18AD07-D50A-4C4B-BFE6-C27C3FED00DC}"/>
          </ac:picMkLst>
        </pc:picChg>
        <pc:picChg chg="add del mod">
          <ac:chgData name="Goergen, YvesMaurice" userId="44f840f7-7bf2-431d-bc4f-990569b9d0ff" providerId="ADAL" clId="{2F1E63F0-BFEF-0E47-8C78-ED84D1B622D2}" dt="2022-03-24T14:56:44.319" v="3047" actId="478"/>
          <ac:picMkLst>
            <pc:docMk/>
            <pc:sldMk cId="70005203" sldId="293"/>
            <ac:picMk id="28674" creationId="{B06D1601-A7E1-6448-A5EF-32998B695B62}"/>
          </ac:picMkLst>
        </pc:picChg>
        <pc:picChg chg="add del mod">
          <ac:chgData name="Goergen, YvesMaurice" userId="44f840f7-7bf2-431d-bc4f-990569b9d0ff" providerId="ADAL" clId="{2F1E63F0-BFEF-0E47-8C78-ED84D1B622D2}" dt="2022-03-24T15:37:40.927" v="3063" actId="478"/>
          <ac:picMkLst>
            <pc:docMk/>
            <pc:sldMk cId="70005203" sldId="293"/>
            <ac:picMk id="28676" creationId="{F58F219C-E4ED-E64C-AB52-1C3D01AED871}"/>
          </ac:picMkLst>
        </pc:picChg>
        <pc:picChg chg="add mod">
          <ac:chgData name="Goergen, YvesMaurice" userId="44f840f7-7bf2-431d-bc4f-990569b9d0ff" providerId="ADAL" clId="{2F1E63F0-BFEF-0E47-8C78-ED84D1B622D2}" dt="2022-03-24T18:19:49.666" v="4597"/>
          <ac:picMkLst>
            <pc:docMk/>
            <pc:sldMk cId="70005203" sldId="293"/>
            <ac:picMk id="28678" creationId="{9FFA16C7-4133-7740-8DDB-14088E0A0119}"/>
          </ac:picMkLst>
        </pc:picChg>
      </pc:sldChg>
      <pc:sldChg chg="addSp delSp modSp new mod ord">
        <pc:chgData name="Goergen, YvesMaurice" userId="44f840f7-7bf2-431d-bc4f-990569b9d0ff" providerId="ADAL" clId="{2F1E63F0-BFEF-0E47-8C78-ED84D1B622D2}" dt="2022-03-25T08:29:22.028" v="5310" actId="20577"/>
        <pc:sldMkLst>
          <pc:docMk/>
          <pc:sldMk cId="1158585081" sldId="294"/>
        </pc:sldMkLst>
        <pc:spChg chg="mod">
          <ac:chgData name="Goergen, YvesMaurice" userId="44f840f7-7bf2-431d-bc4f-990569b9d0ff" providerId="ADAL" clId="{2F1E63F0-BFEF-0E47-8C78-ED84D1B622D2}" dt="2022-03-25T07:57:06.525" v="4984" actId="113"/>
          <ac:spMkLst>
            <pc:docMk/>
            <pc:sldMk cId="1158585081" sldId="294"/>
            <ac:spMk id="2" creationId="{C8CDB3D2-9323-704F-8B89-044215ED63B2}"/>
          </ac:spMkLst>
        </pc:spChg>
        <pc:spChg chg="add del mod">
          <ac:chgData name="Goergen, YvesMaurice" userId="44f840f7-7bf2-431d-bc4f-990569b9d0ff" providerId="ADAL" clId="{2F1E63F0-BFEF-0E47-8C78-ED84D1B622D2}" dt="2022-03-25T08:16:23.367" v="5301" actId="478"/>
          <ac:spMkLst>
            <pc:docMk/>
            <pc:sldMk cId="1158585081" sldId="294"/>
            <ac:spMk id="3" creationId="{A39207C2-79A0-8849-BF23-087FF813C1C1}"/>
          </ac:spMkLst>
        </pc:spChg>
        <pc:spChg chg="add mod">
          <ac:chgData name="Goergen, YvesMaurice" userId="44f840f7-7bf2-431d-bc4f-990569b9d0ff" providerId="ADAL" clId="{2F1E63F0-BFEF-0E47-8C78-ED84D1B622D2}" dt="2022-03-25T07:48:35.242" v="4981" actId="1076"/>
          <ac:spMkLst>
            <pc:docMk/>
            <pc:sldMk cId="1158585081" sldId="294"/>
            <ac:spMk id="4" creationId="{038B4DBF-8D96-164A-93F8-D1A4826802E0}"/>
          </ac:spMkLst>
        </pc:spChg>
        <pc:spChg chg="add mod">
          <ac:chgData name="Goergen, YvesMaurice" userId="44f840f7-7bf2-431d-bc4f-990569b9d0ff" providerId="ADAL" clId="{2F1E63F0-BFEF-0E47-8C78-ED84D1B622D2}" dt="2022-03-25T07:47:18.391" v="4970" actId="120"/>
          <ac:spMkLst>
            <pc:docMk/>
            <pc:sldMk cId="1158585081" sldId="294"/>
            <ac:spMk id="5" creationId="{F0583A83-AE12-E34F-A864-D6029F8F8B67}"/>
          </ac:spMkLst>
        </pc:spChg>
        <pc:spChg chg="add del mod">
          <ac:chgData name="Goergen, YvesMaurice" userId="44f840f7-7bf2-431d-bc4f-990569b9d0ff" providerId="ADAL" clId="{2F1E63F0-BFEF-0E47-8C78-ED84D1B622D2}" dt="2022-03-25T07:48:30.607" v="4980"/>
          <ac:spMkLst>
            <pc:docMk/>
            <pc:sldMk cId="1158585081" sldId="294"/>
            <ac:spMk id="10" creationId="{F94B119B-8545-5748-8E0D-288595A31CAC}"/>
          </ac:spMkLst>
        </pc:spChg>
        <pc:spChg chg="add del">
          <ac:chgData name="Goergen, YvesMaurice" userId="44f840f7-7bf2-431d-bc4f-990569b9d0ff" providerId="ADAL" clId="{2F1E63F0-BFEF-0E47-8C78-ED84D1B622D2}" dt="2022-03-25T07:57:34.938" v="4986" actId="478"/>
          <ac:spMkLst>
            <pc:docMk/>
            <pc:sldMk cId="1158585081" sldId="294"/>
            <ac:spMk id="11" creationId="{61342B5E-F266-F044-A085-DEDA7D744738}"/>
          </ac:spMkLst>
        </pc:spChg>
        <pc:spChg chg="add mod">
          <ac:chgData name="Goergen, YvesMaurice" userId="44f840f7-7bf2-431d-bc4f-990569b9d0ff" providerId="ADAL" clId="{2F1E63F0-BFEF-0E47-8C78-ED84D1B622D2}" dt="2022-03-25T08:29:22.028" v="5310" actId="20577"/>
          <ac:spMkLst>
            <pc:docMk/>
            <pc:sldMk cId="1158585081" sldId="294"/>
            <ac:spMk id="12" creationId="{41E11816-B28F-984C-A807-F6492ECBDB05}"/>
          </ac:spMkLst>
        </pc:spChg>
        <pc:cxnChg chg="add mod">
          <ac:chgData name="Goergen, YvesMaurice" userId="44f840f7-7bf2-431d-bc4f-990569b9d0ff" providerId="ADAL" clId="{2F1E63F0-BFEF-0E47-8C78-ED84D1B622D2}" dt="2022-03-25T07:47:34.661" v="4973" actId="14100"/>
          <ac:cxnSpMkLst>
            <pc:docMk/>
            <pc:sldMk cId="1158585081" sldId="294"/>
            <ac:cxnSpMk id="6" creationId="{8C937500-6558-074A-B446-57A9A0D1A010}"/>
          </ac:cxnSpMkLst>
        </pc:cxnChg>
        <pc:cxnChg chg="add mod">
          <ac:chgData name="Goergen, YvesMaurice" userId="44f840f7-7bf2-431d-bc4f-990569b9d0ff" providerId="ADAL" clId="{2F1E63F0-BFEF-0E47-8C78-ED84D1B622D2}" dt="2022-03-25T07:47:44.190" v="4976" actId="14100"/>
          <ac:cxnSpMkLst>
            <pc:docMk/>
            <pc:sldMk cId="1158585081" sldId="294"/>
            <ac:cxnSpMk id="8" creationId="{E2B5A6C5-6C1D-9A4E-8B3A-39014DA4D73E}"/>
          </ac:cxnSpMkLst>
        </pc:cxnChg>
      </pc:sldChg>
      <pc:sldChg chg="new del">
        <pc:chgData name="Goergen, YvesMaurice" userId="44f840f7-7bf2-431d-bc4f-990569b9d0ff" providerId="ADAL" clId="{2F1E63F0-BFEF-0E47-8C78-ED84D1B622D2}" dt="2022-03-25T07:45:01.843" v="4894" actId="2696"/>
        <pc:sldMkLst>
          <pc:docMk/>
          <pc:sldMk cId="2249785888" sldId="294"/>
        </pc:sldMkLst>
      </pc:sldChg>
      <pc:sldChg chg="new del">
        <pc:chgData name="Goergen, YvesMaurice" userId="44f840f7-7bf2-431d-bc4f-990569b9d0ff" providerId="ADAL" clId="{2F1E63F0-BFEF-0E47-8C78-ED84D1B622D2}" dt="2022-03-24T20:45:19.109" v="4751" actId="2696"/>
        <pc:sldMkLst>
          <pc:docMk/>
          <pc:sldMk cId="3237099371" sldId="294"/>
        </pc:sldMkLst>
      </pc:sldChg>
      <pc:sldMasterChg chg="addSp delSp modSp mod addSldLayout delSldLayout modSldLayout sldLayoutOrd">
        <pc:chgData name="Goergen, YvesMaurice" userId="44f840f7-7bf2-431d-bc4f-990569b9d0ff" providerId="ADAL" clId="{2F1E63F0-BFEF-0E47-8C78-ED84D1B622D2}" dt="2022-03-25T07:08:04.432" v="4797" actId="20577"/>
        <pc:sldMasterMkLst>
          <pc:docMk/>
          <pc:sldMasterMk cId="659646693" sldId="2147483660"/>
        </pc:sldMasterMkLst>
        <pc:spChg chg="mod">
          <ac:chgData name="Goergen, YvesMaurice" userId="44f840f7-7bf2-431d-bc4f-990569b9d0ff" providerId="ADAL" clId="{2F1E63F0-BFEF-0E47-8C78-ED84D1B622D2}" dt="2022-03-24T10:01:30.859" v="278" actId="207"/>
          <ac:spMkLst>
            <pc:docMk/>
            <pc:sldMasterMk cId="659646693" sldId="2147483660"/>
            <ac:spMk id="2" creationId="{9C837BC6-FC85-0C40-8933-AC14C9FD9976}"/>
          </ac:spMkLst>
        </pc:spChg>
        <pc:picChg chg="add del">
          <ac:chgData name="Goergen, YvesMaurice" userId="44f840f7-7bf2-431d-bc4f-990569b9d0ff" providerId="ADAL" clId="{2F1E63F0-BFEF-0E47-8C78-ED84D1B622D2}" dt="2022-03-24T10:00:05.474" v="262" actId="478"/>
          <ac:picMkLst>
            <pc:docMk/>
            <pc:sldMasterMk cId="659646693" sldId="2147483660"/>
            <ac:picMk id="1026" creationId="{0E596BBF-D6CA-8D45-8594-329B1D407B01}"/>
          </ac:picMkLst>
        </pc:picChg>
        <pc:picChg chg="add del mod">
          <ac:chgData name="Goergen, YvesMaurice" userId="44f840f7-7bf2-431d-bc4f-990569b9d0ff" providerId="ADAL" clId="{2F1E63F0-BFEF-0E47-8C78-ED84D1B622D2}" dt="2022-03-24T10:01:49.892" v="279" actId="478"/>
          <ac:picMkLst>
            <pc:docMk/>
            <pc:sldMasterMk cId="659646693" sldId="2147483660"/>
            <ac:picMk id="1027" creationId="{1B3351A7-4098-884A-81F1-BB38B47BA137}"/>
          </ac:picMkLst>
        </pc:picChg>
        <pc:cxnChg chg="mod">
          <ac:chgData name="Goergen, YvesMaurice" userId="44f840f7-7bf2-431d-bc4f-990569b9d0ff" providerId="ADAL" clId="{2F1E63F0-BFEF-0E47-8C78-ED84D1B622D2}" dt="2022-03-24T10:01:12.902" v="275" actId="208"/>
          <ac:cxnSpMkLst>
            <pc:docMk/>
            <pc:sldMasterMk cId="659646693" sldId="2147483660"/>
            <ac:cxnSpMk id="5" creationId="{5AF1B1F7-E68A-BA48-83CB-7C9B9B61A13F}"/>
          </ac:cxnSpMkLst>
        </pc:cxnChg>
        <pc:sldLayoutChg chg="addSp delSp modSp mod">
          <pc:chgData name="Goergen, YvesMaurice" userId="44f840f7-7bf2-431d-bc4f-990569b9d0ff" providerId="ADAL" clId="{2F1E63F0-BFEF-0E47-8C78-ED84D1B622D2}" dt="2022-03-25T07:07:56.783" v="4785" actId="113"/>
          <pc:sldLayoutMkLst>
            <pc:docMk/>
            <pc:sldMasterMk cId="659646693" sldId="2147483660"/>
            <pc:sldLayoutMk cId="502052321" sldId="2147483672"/>
          </pc:sldLayoutMkLst>
          <pc:spChg chg="mod">
            <ac:chgData name="Goergen, YvesMaurice" userId="44f840f7-7bf2-431d-bc4f-990569b9d0ff" providerId="ADAL" clId="{2F1E63F0-BFEF-0E47-8C78-ED84D1B622D2}" dt="2022-03-24T10:05:50.912" v="324" actId="207"/>
            <ac:spMkLst>
              <pc:docMk/>
              <pc:sldMasterMk cId="659646693" sldId="2147483660"/>
              <pc:sldLayoutMk cId="502052321" sldId="2147483672"/>
              <ac:spMk id="15" creationId="{350CC7DC-5CEC-3648-8525-221E1E9F4ED3}"/>
            </ac:spMkLst>
          </pc:spChg>
          <pc:spChg chg="mod">
            <ac:chgData name="Goergen, YvesMaurice" userId="44f840f7-7bf2-431d-bc4f-990569b9d0ff" providerId="ADAL" clId="{2F1E63F0-BFEF-0E47-8C78-ED84D1B622D2}" dt="2022-03-25T07:07:56.783" v="4785" actId="113"/>
            <ac:spMkLst>
              <pc:docMk/>
              <pc:sldMasterMk cId="659646693" sldId="2147483660"/>
              <pc:sldLayoutMk cId="502052321" sldId="2147483672"/>
              <ac:spMk id="16" creationId="{395D2A4D-991B-AE4A-A85A-32CFB65965B2}"/>
            </ac:spMkLst>
          </pc:spChg>
          <pc:graphicFrameChg chg="del">
            <ac:chgData name="Goergen, YvesMaurice" userId="44f840f7-7bf2-431d-bc4f-990569b9d0ff" providerId="ADAL" clId="{2F1E63F0-BFEF-0E47-8C78-ED84D1B622D2}" dt="2022-03-24T09:18:25.142" v="11" actId="478"/>
            <ac:graphicFrameMkLst>
              <pc:docMk/>
              <pc:sldMasterMk cId="659646693" sldId="2147483660"/>
              <pc:sldLayoutMk cId="502052321" sldId="2147483672"/>
              <ac:graphicFrameMk id="5" creationId="{29198F90-F4B2-4F48-A1B3-BADD11855C9F}"/>
            </ac:graphicFrameMkLst>
          </pc:graphicFrameChg>
          <pc:graphicFrameChg chg="del">
            <ac:chgData name="Goergen, YvesMaurice" userId="44f840f7-7bf2-431d-bc4f-990569b9d0ff" providerId="ADAL" clId="{2F1E63F0-BFEF-0E47-8C78-ED84D1B622D2}" dt="2022-03-24T09:18:25.142" v="11" actId="478"/>
            <ac:graphicFrameMkLst>
              <pc:docMk/>
              <pc:sldMasterMk cId="659646693" sldId="2147483660"/>
              <pc:sldLayoutMk cId="502052321" sldId="2147483672"/>
              <ac:graphicFrameMk id="17" creationId="{CC055210-65C1-5745-B820-41B96CBB85EB}"/>
            </ac:graphicFrameMkLst>
          </pc:graphicFrameChg>
          <pc:graphicFrameChg chg="del">
            <ac:chgData name="Goergen, YvesMaurice" userId="44f840f7-7bf2-431d-bc4f-990569b9d0ff" providerId="ADAL" clId="{2F1E63F0-BFEF-0E47-8C78-ED84D1B622D2}" dt="2022-03-24T09:18:25.142" v="11" actId="478"/>
            <ac:graphicFrameMkLst>
              <pc:docMk/>
              <pc:sldMasterMk cId="659646693" sldId="2147483660"/>
              <pc:sldLayoutMk cId="502052321" sldId="2147483672"/>
              <ac:graphicFrameMk id="22" creationId="{D48F45FD-9971-B943-AF28-28A277755D1E}"/>
            </ac:graphicFrameMkLst>
          </pc:graphicFrameChg>
          <pc:graphicFrameChg chg="del">
            <ac:chgData name="Goergen, YvesMaurice" userId="44f840f7-7bf2-431d-bc4f-990569b9d0ff" providerId="ADAL" clId="{2F1E63F0-BFEF-0E47-8C78-ED84D1B622D2}" dt="2022-03-24T09:18:25.142" v="11" actId="478"/>
            <ac:graphicFrameMkLst>
              <pc:docMk/>
              <pc:sldMasterMk cId="659646693" sldId="2147483660"/>
              <pc:sldLayoutMk cId="502052321" sldId="2147483672"/>
              <ac:graphicFrameMk id="23" creationId="{CC59A5E9-F563-DA40-8AC8-3233ED1CF946}"/>
            </ac:graphicFrameMkLst>
          </pc:graphicFrameChg>
          <pc:graphicFrameChg chg="del">
            <ac:chgData name="Goergen, YvesMaurice" userId="44f840f7-7bf2-431d-bc4f-990569b9d0ff" providerId="ADAL" clId="{2F1E63F0-BFEF-0E47-8C78-ED84D1B622D2}" dt="2022-03-24T09:18:25.142" v="11" actId="478"/>
            <ac:graphicFrameMkLst>
              <pc:docMk/>
              <pc:sldMasterMk cId="659646693" sldId="2147483660"/>
              <pc:sldLayoutMk cId="502052321" sldId="2147483672"/>
              <ac:graphicFrameMk id="24" creationId="{9E362098-C12B-5842-A480-CFC19AC1B100}"/>
            </ac:graphicFrameMkLst>
          </pc:graphicFrameChg>
          <pc:picChg chg="add mod">
            <ac:chgData name="Goergen, YvesMaurice" userId="44f840f7-7bf2-431d-bc4f-990569b9d0ff" providerId="ADAL" clId="{2F1E63F0-BFEF-0E47-8C78-ED84D1B622D2}" dt="2022-03-24T10:41:53.784" v="332"/>
            <ac:picMkLst>
              <pc:docMk/>
              <pc:sldMasterMk cId="659646693" sldId="2147483660"/>
              <pc:sldLayoutMk cId="502052321" sldId="2147483672"/>
              <ac:picMk id="12" creationId="{09EA372C-FA05-DB4A-80BF-DEB080FA67F0}"/>
            </ac:picMkLst>
          </pc:picChg>
        </pc:sldLayoutChg>
        <pc:sldLayoutChg chg="addSp delSp modSp mod">
          <pc:chgData name="Goergen, YvesMaurice" userId="44f840f7-7bf2-431d-bc4f-990569b9d0ff" providerId="ADAL" clId="{2F1E63F0-BFEF-0E47-8C78-ED84D1B622D2}" dt="2022-03-25T07:08:04.432" v="4797" actId="20577"/>
          <pc:sldLayoutMkLst>
            <pc:docMk/>
            <pc:sldMasterMk cId="659646693" sldId="2147483660"/>
            <pc:sldLayoutMk cId="3357946950" sldId="2147483678"/>
          </pc:sldLayoutMkLst>
          <pc:spChg chg="mod">
            <ac:chgData name="Goergen, YvesMaurice" userId="44f840f7-7bf2-431d-bc4f-990569b9d0ff" providerId="ADAL" clId="{2F1E63F0-BFEF-0E47-8C78-ED84D1B622D2}" dt="2022-03-24T10:03:05.007" v="302" actId="207"/>
            <ac:spMkLst>
              <pc:docMk/>
              <pc:sldMasterMk cId="659646693" sldId="2147483660"/>
              <pc:sldLayoutMk cId="3357946950" sldId="2147483678"/>
              <ac:spMk id="2" creationId="{51434AFC-7001-2D4E-8A14-B155615A6A3B}"/>
            </ac:spMkLst>
          </pc:spChg>
          <pc:spChg chg="add mod">
            <ac:chgData name="Goergen, YvesMaurice" userId="44f840f7-7bf2-431d-bc4f-990569b9d0ff" providerId="ADAL" clId="{2F1E63F0-BFEF-0E47-8C78-ED84D1B622D2}" dt="2022-03-25T07:08:04.432" v="4797" actId="20577"/>
            <ac:spMkLst>
              <pc:docMk/>
              <pc:sldMasterMk cId="659646693" sldId="2147483660"/>
              <pc:sldLayoutMk cId="3357946950" sldId="2147483678"/>
              <ac:spMk id="7" creationId="{B481F235-E035-694C-A92E-C23FBC46C230}"/>
            </ac:spMkLst>
          </pc:spChg>
          <pc:picChg chg="add del mod">
            <ac:chgData name="Goergen, YvesMaurice" userId="44f840f7-7bf2-431d-bc4f-990569b9d0ff" providerId="ADAL" clId="{2F1E63F0-BFEF-0E47-8C78-ED84D1B622D2}" dt="2022-03-24T10:02:33.757" v="292" actId="478"/>
            <ac:picMkLst>
              <pc:docMk/>
              <pc:sldMasterMk cId="659646693" sldId="2147483660"/>
              <pc:sldLayoutMk cId="3357946950" sldId="2147483678"/>
              <ac:picMk id="5" creationId="{8A196D63-AF20-0C44-9732-8E227EC9A12B}"/>
            </ac:picMkLst>
          </pc:picChg>
          <pc:picChg chg="add mod">
            <ac:chgData name="Goergen, YvesMaurice" userId="44f840f7-7bf2-431d-bc4f-990569b9d0ff" providerId="ADAL" clId="{2F1E63F0-BFEF-0E47-8C78-ED84D1B622D2}" dt="2022-03-24T10:02:44.897" v="301" actId="14100"/>
            <ac:picMkLst>
              <pc:docMk/>
              <pc:sldMasterMk cId="659646693" sldId="2147483660"/>
              <pc:sldLayoutMk cId="3357946950" sldId="2147483678"/>
              <ac:picMk id="2051" creationId="{C7BAB8AD-B505-CB4D-8195-5F3019DCDA5B}"/>
            </ac:picMkLst>
          </pc:picChg>
        </pc:sldLayoutChg>
        <pc:sldLayoutChg chg="add mod modTransition">
          <pc:chgData name="Goergen, YvesMaurice" userId="44f840f7-7bf2-431d-bc4f-990569b9d0ff" providerId="ADAL" clId="{2F1E63F0-BFEF-0E47-8C78-ED84D1B622D2}" dt="2022-03-24T09:18:33.778" v="12" actId="2890"/>
          <pc:sldLayoutMkLst>
            <pc:docMk/>
            <pc:sldMasterMk cId="659646693" sldId="2147483660"/>
            <pc:sldLayoutMk cId="2347400390" sldId="2147483679"/>
          </pc:sldLayoutMkLst>
        </pc:sldLayoutChg>
        <pc:sldLayoutChg chg="addSp delSp modSp mod ord">
          <pc:chgData name="Goergen, YvesMaurice" userId="44f840f7-7bf2-431d-bc4f-990569b9d0ff" providerId="ADAL" clId="{2F1E63F0-BFEF-0E47-8C78-ED84D1B622D2}" dt="2022-03-24T10:06:33.544" v="330"/>
          <pc:sldLayoutMkLst>
            <pc:docMk/>
            <pc:sldMasterMk cId="659646693" sldId="2147483660"/>
            <pc:sldLayoutMk cId="2435443858" sldId="2147483680"/>
          </pc:sldLayoutMkLst>
          <pc:spChg chg="add del mod">
            <ac:chgData name="Goergen, YvesMaurice" userId="44f840f7-7bf2-431d-bc4f-990569b9d0ff" providerId="ADAL" clId="{2F1E63F0-BFEF-0E47-8C78-ED84D1B622D2}" dt="2022-03-24T10:06:27.845" v="327"/>
            <ac:spMkLst>
              <pc:docMk/>
              <pc:sldMasterMk cId="659646693" sldId="2147483660"/>
              <pc:sldLayoutMk cId="2435443858" sldId="2147483680"/>
              <ac:spMk id="2" creationId="{E9C11ADA-A8CF-A94D-BAE0-4B474C6F958A}"/>
            </ac:spMkLst>
          </pc:spChg>
          <pc:spChg chg="add del mod">
            <ac:chgData name="Goergen, YvesMaurice" userId="44f840f7-7bf2-431d-bc4f-990569b9d0ff" providerId="ADAL" clId="{2F1E63F0-BFEF-0E47-8C78-ED84D1B622D2}" dt="2022-03-24T10:06:33.544" v="330"/>
            <ac:spMkLst>
              <pc:docMk/>
              <pc:sldMasterMk cId="659646693" sldId="2147483660"/>
              <pc:sldLayoutMk cId="2435443858" sldId="2147483680"/>
              <ac:spMk id="3" creationId="{5DAB0CC3-5A6D-0D4F-B6FE-66AB6D0CF09F}"/>
            </ac:spMkLst>
          </pc:spChg>
        </pc:sldLayoutChg>
        <pc:sldLayoutChg chg="new del mod">
          <pc:chgData name="Goergen, YvesMaurice" userId="44f840f7-7bf2-431d-bc4f-990569b9d0ff" providerId="ADAL" clId="{2F1E63F0-BFEF-0E47-8C78-ED84D1B622D2}" dt="2022-03-24T09:34:25.319" v="255" actId="2696"/>
          <pc:sldLayoutMkLst>
            <pc:docMk/>
            <pc:sldMasterMk cId="659646693" sldId="2147483660"/>
            <pc:sldLayoutMk cId="3646363173" sldId="2147483681"/>
          </pc:sldLayoutMkLst>
        </pc:sldLayoutChg>
      </pc:sldMasterChg>
    </pc:docChg>
  </pc:docChgLst>
  <pc:docChgLst>
    <pc:chgData name="Rivoire, Alex" userId="2947b1ae-6e72-49d5-9dc7-4af43b59beb2" providerId="ADAL" clId="{F96DEEB7-0AB7-D149-8202-B38FDDBA97E1}"/>
    <pc:docChg chg="custSel modSld modMainMaster">
      <pc:chgData name="Rivoire, Alex" userId="2947b1ae-6e72-49d5-9dc7-4af43b59beb2" providerId="ADAL" clId="{F96DEEB7-0AB7-D149-8202-B38FDDBA97E1}" dt="2022-03-25T01:30:38.337" v="31" actId="1076"/>
      <pc:docMkLst>
        <pc:docMk/>
      </pc:docMkLst>
      <pc:sldChg chg="addSp delSp modSp mod delAnim modAnim">
        <pc:chgData name="Rivoire, Alex" userId="2947b1ae-6e72-49d5-9dc7-4af43b59beb2" providerId="ADAL" clId="{F96DEEB7-0AB7-D149-8202-B38FDDBA97E1}" dt="2022-03-25T01:30:38.337" v="31" actId="1076"/>
        <pc:sldMkLst>
          <pc:docMk/>
          <pc:sldMk cId="2516800527" sldId="289"/>
        </pc:sldMkLst>
        <pc:spChg chg="del mod">
          <ac:chgData name="Rivoire, Alex" userId="2947b1ae-6e72-49d5-9dc7-4af43b59beb2" providerId="ADAL" clId="{F96DEEB7-0AB7-D149-8202-B38FDDBA97E1}" dt="2022-03-24T23:44:26.770" v="1" actId="478"/>
          <ac:spMkLst>
            <pc:docMk/>
            <pc:sldMk cId="2516800527" sldId="289"/>
            <ac:spMk id="47" creationId="{4D51A046-F98E-44A7-ADD1-AEB3FFD4BD60}"/>
          </ac:spMkLst>
        </pc:spChg>
        <pc:picChg chg="add del mod">
          <ac:chgData name="Rivoire, Alex" userId="2947b1ae-6e72-49d5-9dc7-4af43b59beb2" providerId="ADAL" clId="{F96DEEB7-0AB7-D149-8202-B38FDDBA97E1}" dt="2022-03-24T23:57:27.771" v="7" actId="478"/>
          <ac:picMkLst>
            <pc:docMk/>
            <pc:sldMk cId="2516800527" sldId="289"/>
            <ac:picMk id="2" creationId="{079868C4-46EB-A349-820D-CDA531C682F1}"/>
          </ac:picMkLst>
        </pc:picChg>
        <pc:picChg chg="add mod">
          <ac:chgData name="Rivoire, Alex" userId="2947b1ae-6e72-49d5-9dc7-4af43b59beb2" providerId="ADAL" clId="{F96DEEB7-0AB7-D149-8202-B38FDDBA97E1}" dt="2022-03-25T01:30:38.337" v="31" actId="1076"/>
          <ac:picMkLst>
            <pc:docMk/>
            <pc:sldMk cId="2516800527" sldId="289"/>
            <ac:picMk id="4" creationId="{E3359828-0ED3-D140-BAE4-D4C3D09315D9}"/>
          </ac:picMkLst>
        </pc:picChg>
      </pc:sldChg>
      <pc:sldMasterChg chg="modSldLayout">
        <pc:chgData name="Rivoire, Alex" userId="2947b1ae-6e72-49d5-9dc7-4af43b59beb2" providerId="ADAL" clId="{F96DEEB7-0AB7-D149-8202-B38FDDBA97E1}" dt="2022-03-25T01:30:17.216" v="29" actId="20577"/>
        <pc:sldMasterMkLst>
          <pc:docMk/>
          <pc:sldMasterMk cId="659646693" sldId="2147483660"/>
        </pc:sldMasterMkLst>
        <pc:sldLayoutChg chg="modSp mod">
          <pc:chgData name="Rivoire, Alex" userId="2947b1ae-6e72-49d5-9dc7-4af43b59beb2" providerId="ADAL" clId="{F96DEEB7-0AB7-D149-8202-B38FDDBA97E1}" dt="2022-03-25T01:30:17.216" v="29" actId="20577"/>
          <pc:sldLayoutMkLst>
            <pc:docMk/>
            <pc:sldMasterMk cId="659646693" sldId="2147483660"/>
            <pc:sldLayoutMk cId="502052321" sldId="2147483672"/>
          </pc:sldLayoutMkLst>
          <pc:spChg chg="mod">
            <ac:chgData name="Rivoire, Alex" userId="2947b1ae-6e72-49d5-9dc7-4af43b59beb2" providerId="ADAL" clId="{F96DEEB7-0AB7-D149-8202-B38FDDBA97E1}" dt="2022-03-25T01:30:17.216" v="29" actId="20577"/>
            <ac:spMkLst>
              <pc:docMk/>
              <pc:sldMasterMk cId="659646693" sldId="2147483660"/>
              <pc:sldLayoutMk cId="502052321" sldId="2147483672"/>
              <ac:spMk id="16" creationId="{395D2A4D-991B-AE4A-A85A-32CFB65965B2}"/>
            </ac:spMkLst>
          </pc:spChg>
        </pc:sldLayoutChg>
        <pc:sldLayoutChg chg="modSp mod">
          <pc:chgData name="Rivoire, Alex" userId="2947b1ae-6e72-49d5-9dc7-4af43b59beb2" providerId="ADAL" clId="{F96DEEB7-0AB7-D149-8202-B38FDDBA97E1}" dt="2022-03-25T01:29:54.086" v="20" actId="20577"/>
          <pc:sldLayoutMkLst>
            <pc:docMk/>
            <pc:sldMasterMk cId="659646693" sldId="2147483660"/>
            <pc:sldLayoutMk cId="3357946950" sldId="2147483678"/>
          </pc:sldLayoutMkLst>
          <pc:spChg chg="mod">
            <ac:chgData name="Rivoire, Alex" userId="2947b1ae-6e72-49d5-9dc7-4af43b59beb2" providerId="ADAL" clId="{F96DEEB7-0AB7-D149-8202-B38FDDBA97E1}" dt="2022-03-25T01:29:54.086" v="20" actId="20577"/>
            <ac:spMkLst>
              <pc:docMk/>
              <pc:sldMasterMk cId="659646693" sldId="2147483660"/>
              <pc:sldLayoutMk cId="3357946950" sldId="2147483678"/>
              <ac:spMk id="7" creationId="{B481F235-E035-694C-A92E-C23FBC46C230}"/>
            </ac:spMkLst>
          </pc:spChg>
        </pc:sldLayoutChg>
      </pc:sldMasterChg>
    </pc:docChg>
  </pc:docChgLst>
  <pc:docChgLst>
    <pc:chgData name="KayErik Jenss" userId="2172a756-aabb-455c-ad6b-1a20a0bb5aa5" providerId="ADAL" clId="{5B915263-626E-3641-A4EB-2A8E1B0B9D4A}"/>
    <pc:docChg chg="modSld">
      <pc:chgData name="KayErik Jenss" userId="2172a756-aabb-455c-ad6b-1a20a0bb5aa5" providerId="ADAL" clId="{5B915263-626E-3641-A4EB-2A8E1B0B9D4A}" dt="2022-03-25T08:24:01.878" v="3"/>
      <pc:docMkLst>
        <pc:docMk/>
      </pc:docMkLst>
      <pc:sldChg chg="addSp modSp mod modAnim">
        <pc:chgData name="KayErik Jenss" userId="2172a756-aabb-455c-ad6b-1a20a0bb5aa5" providerId="ADAL" clId="{5B915263-626E-3641-A4EB-2A8E1B0B9D4A}" dt="2022-03-25T08:24:01.878" v="3"/>
        <pc:sldMkLst>
          <pc:docMk/>
          <pc:sldMk cId="1158585081" sldId="294"/>
        </pc:sldMkLst>
        <pc:picChg chg="add mod">
          <ac:chgData name="KayErik Jenss" userId="2172a756-aabb-455c-ad6b-1a20a0bb5aa5" providerId="ADAL" clId="{5B915263-626E-3641-A4EB-2A8E1B0B9D4A}" dt="2022-03-25T08:23:54.480" v="2" actId="1076"/>
          <ac:picMkLst>
            <pc:docMk/>
            <pc:sldMk cId="1158585081" sldId="294"/>
            <ac:picMk id="3" creationId="{B6B5412D-7CD4-C147-9150-6A43952631CD}"/>
          </ac:picMkLst>
        </pc:picChg>
      </pc:sldChg>
    </pc:docChg>
  </pc:docChgLst>
  <pc:docChgLst>
    <pc:chgData name="Jenss, KayErik" userId="S::kayerik.jenss@student.unisg.ch::2172a756-aabb-455c-ad6b-1a20a0bb5aa5" providerId="AD" clId="Web-{F6F7B918-7B46-427B-A614-DE57305C1F96}"/>
    <pc:docChg chg="modSld">
      <pc:chgData name="Jenss, KayErik" userId="S::kayerik.jenss@student.unisg.ch::2172a756-aabb-455c-ad6b-1a20a0bb5aa5" providerId="AD" clId="Web-{F6F7B918-7B46-427B-A614-DE57305C1F96}" dt="2022-03-24T20:24:53.370" v="15" actId="1076"/>
      <pc:docMkLst>
        <pc:docMk/>
      </pc:docMkLst>
      <pc:sldChg chg="modSp">
        <pc:chgData name="Jenss, KayErik" userId="S::kayerik.jenss@student.unisg.ch::2172a756-aabb-455c-ad6b-1a20a0bb5aa5" providerId="AD" clId="Web-{F6F7B918-7B46-427B-A614-DE57305C1F96}" dt="2022-03-24T20:24:53.370" v="15" actId="1076"/>
        <pc:sldMkLst>
          <pc:docMk/>
          <pc:sldMk cId="3954075600" sldId="292"/>
        </pc:sldMkLst>
        <pc:spChg chg="mod">
          <ac:chgData name="Jenss, KayErik" userId="S::kayerik.jenss@student.unisg.ch::2172a756-aabb-455c-ad6b-1a20a0bb5aa5" providerId="AD" clId="Web-{F6F7B918-7B46-427B-A614-DE57305C1F96}" dt="2022-03-24T20:24:53.370" v="15" actId="1076"/>
          <ac:spMkLst>
            <pc:docMk/>
            <pc:sldMk cId="3954075600" sldId="292"/>
            <ac:spMk id="18" creationId="{AD1D2E32-7F30-1946-8FC5-73213983D777}"/>
          </ac:spMkLst>
        </pc:spChg>
      </pc:sldChg>
      <pc:sldChg chg="modSp">
        <pc:chgData name="Jenss, KayErik" userId="S::kayerik.jenss@student.unisg.ch::2172a756-aabb-455c-ad6b-1a20a0bb5aa5" providerId="AD" clId="Web-{F6F7B918-7B46-427B-A614-DE57305C1F96}" dt="2022-03-24T20:23:43.115" v="8" actId="1076"/>
        <pc:sldMkLst>
          <pc:docMk/>
          <pc:sldMk cId="70005203" sldId="293"/>
        </pc:sldMkLst>
        <pc:spChg chg="mod">
          <ac:chgData name="Jenss, KayErik" userId="S::kayerik.jenss@student.unisg.ch::2172a756-aabb-455c-ad6b-1a20a0bb5aa5" providerId="AD" clId="Web-{F6F7B918-7B46-427B-A614-DE57305C1F96}" dt="2022-03-24T20:23:43.115" v="8" actId="1076"/>
          <ac:spMkLst>
            <pc:docMk/>
            <pc:sldMk cId="70005203" sldId="293"/>
            <ac:spMk id="59" creationId="{F0CD9B47-21EC-2E43-9638-6D170181A01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FECEF4-C7D5-8E46-B135-055DF787ADF9}" type="datetimeFigureOut">
              <a:rPr lang="da-DK" smtClean="0"/>
              <a:t>25-03-2022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D2CD7-44C7-1940-93E8-39F9736C9DF0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81488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40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40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400">
                <a:solidFill>
                  <a:schemeClr val="dk1"/>
                </a:solidFill>
              </a:rPr>
              <a:t>Difference to </a:t>
            </a:r>
            <a:r>
              <a:rPr lang="en" sz="1400" err="1">
                <a:solidFill>
                  <a:schemeClr val="dk1"/>
                </a:solidFill>
              </a:rPr>
              <a:t>Pipe.com</a:t>
            </a:r>
            <a:endParaRPr sz="1400">
              <a:solidFill>
                <a:schemeClr val="dk1"/>
              </a:solidFill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-"/>
            </a:pPr>
            <a:r>
              <a:rPr lang="en" sz="1400">
                <a:solidFill>
                  <a:schemeClr val="dk1"/>
                </a:solidFill>
              </a:rPr>
              <a:t>CH &amp; EU </a:t>
            </a:r>
            <a:r>
              <a:rPr lang="en" sz="1400" err="1">
                <a:solidFill>
                  <a:schemeClr val="dk1"/>
                </a:solidFill>
              </a:rPr>
              <a:t>Fokus</a:t>
            </a:r>
            <a:endParaRPr sz="1400">
              <a:solidFill>
                <a:schemeClr val="dk1"/>
              </a:solidFill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-"/>
            </a:pPr>
            <a:r>
              <a:rPr lang="en" sz="1400">
                <a:solidFill>
                  <a:schemeClr val="dk1"/>
                </a:solidFill>
              </a:rPr>
              <a:t>No marketplace but directly lending out. It’s not a 2-sided market</a:t>
            </a:r>
            <a:endParaRPr sz="140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D2CD7-44C7-1940-93E8-39F9736C9DF0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2925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D2CD7-44C7-1940-93E8-39F9736C9DF0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0355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D2CD7-44C7-1940-93E8-39F9736C9DF0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4021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D2CD7-44C7-1940-93E8-39F9736C9DF0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38436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D2CD7-44C7-1940-93E8-39F9736C9DF0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02155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D2CD7-44C7-1940-93E8-39F9736C9DF0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87959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D2CD7-44C7-1940-93E8-39F9736C9DF0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3691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oogle Shape;10;p2"/>
          <p:cNvCxnSpPr/>
          <p:nvPr/>
        </p:nvCxnSpPr>
        <p:spPr>
          <a:xfrm>
            <a:off x="0" y="3997533"/>
            <a:ext cx="121920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680600" y="1676400"/>
            <a:ext cx="10830800" cy="21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680600" y="4243084"/>
            <a:ext cx="10830800" cy="84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de-DE" smtClean="0"/>
              <a:pPr algn="r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54438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33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434AFC-7001-2D4E-8A14-B155615A6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443781"/>
            <a:ext cx="11253216" cy="691779"/>
          </a:xfrm>
        </p:spPr>
        <p:txBody>
          <a:bodyPr/>
          <a:lstStyle>
            <a:lvl1pPr>
              <a:defRPr b="0">
                <a:solidFill>
                  <a:srgbClr val="E30D3C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da-DK"/>
          </a:p>
        </p:txBody>
      </p:sp>
      <p:pic>
        <p:nvPicPr>
          <p:cNvPr id="2051" name="Picture 3" descr="Sunrise UPC GmbH – Berufsbildungscenter">
            <a:extLst>
              <a:ext uri="{FF2B5EF4-FFF2-40B4-BE49-F238E27FC236}">
                <a16:creationId xmlns:a16="http://schemas.microsoft.com/office/drawing/2014/main" id="{C7BAB8AD-B505-CB4D-8195-5F3019DCDA5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62" r="27553"/>
          <a:stretch/>
        </p:blipFill>
        <p:spPr bwMode="auto">
          <a:xfrm>
            <a:off x="11196668" y="119001"/>
            <a:ext cx="798472" cy="855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Google Shape;310;p38">
            <a:extLst>
              <a:ext uri="{FF2B5EF4-FFF2-40B4-BE49-F238E27FC236}">
                <a16:creationId xmlns:a16="http://schemas.microsoft.com/office/drawing/2014/main" id="{B481F235-E035-694C-A92E-C23FBC46C230}"/>
              </a:ext>
            </a:extLst>
          </p:cNvPr>
          <p:cNvSpPr txBox="1"/>
          <p:nvPr userDrawn="1"/>
        </p:nvSpPr>
        <p:spPr>
          <a:xfrm>
            <a:off x="365696" y="6414219"/>
            <a:ext cx="286947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</a:t>
            </a:r>
            <a:r>
              <a:rPr lang="de" sz="1067" b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SMART</a:t>
            </a:r>
            <a:r>
              <a:rPr lang="de" sz="1067" b="1">
                <a:solidFill>
                  <a:srgbClr val="EA4D63"/>
                </a:solidFill>
                <a:latin typeface="Work Sans"/>
                <a:ea typeface="Work Sans"/>
                <a:cs typeface="Work Sans"/>
                <a:sym typeface="Work Sans"/>
              </a:rPr>
              <a:t>CUBE</a:t>
            </a:r>
            <a:endParaRPr sz="1067" b="1">
              <a:solidFill>
                <a:srgbClr val="EA4D63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</p:spTree>
    <p:extLst>
      <p:ext uri="{BB962C8B-B14F-4D97-AF65-F5344CB8AC3E}">
        <p14:creationId xmlns:p14="http://schemas.microsoft.com/office/powerpoint/2010/main" val="3357946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046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50CC7DC-5CEC-3648-8525-221E1E9F4E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443781"/>
            <a:ext cx="11253216" cy="691779"/>
          </a:xfrm>
        </p:spPr>
        <p:txBody>
          <a:bodyPr/>
          <a:lstStyle>
            <a:lvl1pPr>
              <a:defRPr baseline="0">
                <a:solidFill>
                  <a:srgbClr val="E30D3C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da-DK"/>
          </a:p>
        </p:txBody>
      </p:sp>
      <p:sp>
        <p:nvSpPr>
          <p:cNvPr id="16" name="Google Shape;310;p38">
            <a:extLst>
              <a:ext uri="{FF2B5EF4-FFF2-40B4-BE49-F238E27FC236}">
                <a16:creationId xmlns:a16="http://schemas.microsoft.com/office/drawing/2014/main" id="{395D2A4D-991B-AE4A-A85A-32CFB65965B2}"/>
              </a:ext>
            </a:extLst>
          </p:cNvPr>
          <p:cNvSpPr txBox="1"/>
          <p:nvPr userDrawn="1"/>
        </p:nvSpPr>
        <p:spPr>
          <a:xfrm>
            <a:off x="365696" y="6414219"/>
            <a:ext cx="286947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</a:t>
            </a:r>
            <a:r>
              <a:rPr lang="de" sz="1067" b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SMART</a:t>
            </a:r>
            <a:r>
              <a:rPr lang="de" sz="1067" b="1">
                <a:solidFill>
                  <a:srgbClr val="E30D3C"/>
                </a:solidFill>
                <a:latin typeface="Work Sans"/>
                <a:ea typeface="Work Sans"/>
                <a:cs typeface="Work Sans"/>
                <a:sym typeface="Work Sans"/>
              </a:rPr>
              <a:t>CUBE</a:t>
            </a:r>
            <a:endParaRPr sz="1067" b="1">
              <a:solidFill>
                <a:srgbClr val="E30D3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2" name="Picture 3" descr="Sunrise UPC GmbH – Berufsbildungscenter">
            <a:extLst>
              <a:ext uri="{FF2B5EF4-FFF2-40B4-BE49-F238E27FC236}">
                <a16:creationId xmlns:a16="http://schemas.microsoft.com/office/drawing/2014/main" id="{09EA372C-FA05-DB4A-80BF-DEB080FA67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62" r="27553"/>
          <a:stretch/>
        </p:blipFill>
        <p:spPr bwMode="auto">
          <a:xfrm>
            <a:off x="11196668" y="119001"/>
            <a:ext cx="798472" cy="855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2052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bl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046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50CC7DC-5CEC-3648-8525-221E1E9F4E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443781"/>
            <a:ext cx="11253216" cy="691779"/>
          </a:xfrm>
        </p:spPr>
        <p:txBody>
          <a:bodyPr/>
          <a:lstStyle>
            <a:lvl1pPr>
              <a:defRPr baseline="0">
                <a:solidFill>
                  <a:srgbClr val="00ACB4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da-DK"/>
          </a:p>
        </p:txBody>
      </p:sp>
      <p:sp>
        <p:nvSpPr>
          <p:cNvPr id="16" name="Google Shape;310;p38">
            <a:extLst>
              <a:ext uri="{FF2B5EF4-FFF2-40B4-BE49-F238E27FC236}">
                <a16:creationId xmlns:a16="http://schemas.microsoft.com/office/drawing/2014/main" id="{395D2A4D-991B-AE4A-A85A-32CFB65965B2}"/>
              </a:ext>
            </a:extLst>
          </p:cNvPr>
          <p:cNvSpPr txBox="1"/>
          <p:nvPr userDrawn="1"/>
        </p:nvSpPr>
        <p:spPr>
          <a:xfrm>
            <a:off x="20008" y="6443990"/>
            <a:ext cx="286947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TV </a:t>
            </a:r>
            <a:r>
              <a:rPr lang="de" sz="1067" err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Mood</a:t>
            </a:r>
            <a:r>
              <a:rPr lang="de" sz="1067" err="1">
                <a:solidFill>
                  <a:srgbClr val="00ACB4"/>
                </a:solidFill>
                <a:latin typeface="Work Sans"/>
                <a:ea typeface="Work Sans"/>
                <a:cs typeface="Work Sans"/>
                <a:sym typeface="Work Sans"/>
              </a:rPr>
              <a:t>Capital</a:t>
            </a:r>
            <a:endParaRPr sz="1067">
              <a:solidFill>
                <a:srgbClr val="00ACB4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</p:spTree>
    <p:extLst>
      <p:ext uri="{BB962C8B-B14F-4D97-AF65-F5344CB8AC3E}">
        <p14:creationId xmlns:p14="http://schemas.microsoft.com/office/powerpoint/2010/main" val="2347400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4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242CCA-FE5A-1841-B003-EF3C1F29F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ACB4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da-DK"/>
          </a:p>
        </p:txBody>
      </p:sp>
      <p:sp>
        <p:nvSpPr>
          <p:cNvPr id="23" name="Google Shape;310;p38">
            <a:extLst>
              <a:ext uri="{FF2B5EF4-FFF2-40B4-BE49-F238E27FC236}">
                <a16:creationId xmlns:a16="http://schemas.microsoft.com/office/drawing/2014/main" id="{B9FEC976-E63A-164D-B78B-5F6C8E18390F}"/>
              </a:ext>
            </a:extLst>
          </p:cNvPr>
          <p:cNvSpPr txBox="1"/>
          <p:nvPr userDrawn="1"/>
        </p:nvSpPr>
        <p:spPr>
          <a:xfrm>
            <a:off x="152510" y="6418746"/>
            <a:ext cx="1419245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</a:t>
            </a:r>
            <a:r>
              <a:rPr lang="de" sz="1067" err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Insur</a:t>
            </a:r>
            <a:r>
              <a:rPr lang="de" sz="1067" err="1">
                <a:solidFill>
                  <a:srgbClr val="00ACB4"/>
                </a:solidFill>
                <a:latin typeface="Work Sans"/>
                <a:ea typeface="Work Sans"/>
                <a:cs typeface="Work Sans"/>
                <a:sym typeface="Work Sans"/>
              </a:rPr>
              <a:t>Capital</a:t>
            </a:r>
            <a:endParaRPr sz="1067">
              <a:solidFill>
                <a:srgbClr val="00ACB4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graphicFrame>
        <p:nvGraphicFramePr>
          <p:cNvPr id="30" name="Table 5">
            <a:extLst>
              <a:ext uri="{FF2B5EF4-FFF2-40B4-BE49-F238E27FC236}">
                <a16:creationId xmlns:a16="http://schemas.microsoft.com/office/drawing/2014/main" id="{511E1FD1-DB21-1948-BD66-ED8D4ADFCD0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87537858"/>
              </p:ext>
            </p:extLst>
          </p:nvPr>
        </p:nvGraphicFramePr>
        <p:xfrm>
          <a:off x="5099630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Problem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Table 4">
            <a:extLst>
              <a:ext uri="{FF2B5EF4-FFF2-40B4-BE49-F238E27FC236}">
                <a16:creationId xmlns:a16="http://schemas.microsoft.com/office/drawing/2014/main" id="{87B2CA84-7B0A-3140-8881-C88333C1087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65890605"/>
              </p:ext>
            </p:extLst>
          </p:nvPr>
        </p:nvGraphicFramePr>
        <p:xfrm>
          <a:off x="6410023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1" i="0">
                          <a:solidFill>
                            <a:schemeClr val="bg1"/>
                          </a:solidFill>
                          <a:latin typeface="Avenir Bog" charset="0"/>
                        </a:rPr>
                        <a:t>Solution</a:t>
                      </a:r>
                      <a:endParaRPr lang="en-GB" sz="1050" b="1" i="0">
                        <a:solidFill>
                          <a:schemeClr val="bg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Table 23">
            <a:extLst>
              <a:ext uri="{FF2B5EF4-FFF2-40B4-BE49-F238E27FC236}">
                <a16:creationId xmlns:a16="http://schemas.microsoft.com/office/drawing/2014/main" id="{783A2BE5-77B8-D341-81D2-CD55C19FD59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23671807"/>
              </p:ext>
            </p:extLst>
          </p:nvPr>
        </p:nvGraphicFramePr>
        <p:xfrm>
          <a:off x="10341199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 baseline="0">
                          <a:solidFill>
                            <a:schemeClr val="tx1"/>
                          </a:solidFill>
                          <a:latin typeface="Avenir Bog" charset="0"/>
                        </a:rPr>
                        <a:t>Business Model</a:t>
                      </a:r>
                      <a:endParaRPr lang="en-GB" sz="100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Table 20">
            <a:extLst>
              <a:ext uri="{FF2B5EF4-FFF2-40B4-BE49-F238E27FC236}">
                <a16:creationId xmlns:a16="http://schemas.microsoft.com/office/drawing/2014/main" id="{A5018C26-50E7-5644-AD8F-FA765C947B7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90611433"/>
              </p:ext>
            </p:extLst>
          </p:nvPr>
        </p:nvGraphicFramePr>
        <p:xfrm>
          <a:off x="7720414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 kern="1200">
                          <a:solidFill>
                            <a:schemeClr val="tx1"/>
                          </a:solidFill>
                          <a:latin typeface="Avenir Bog" charset="0"/>
                          <a:ea typeface="+mn-ea"/>
                          <a:cs typeface="+mn-cs"/>
                        </a:rPr>
                        <a:t>GTM Strategy</a:t>
                      </a: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Table 21">
            <a:extLst>
              <a:ext uri="{FF2B5EF4-FFF2-40B4-BE49-F238E27FC236}">
                <a16:creationId xmlns:a16="http://schemas.microsoft.com/office/drawing/2014/main" id="{5512C649-883D-1A42-9F5C-DE789D9F9CC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36300096"/>
              </p:ext>
            </p:extLst>
          </p:nvPr>
        </p:nvGraphicFramePr>
        <p:xfrm>
          <a:off x="9030805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Market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0719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TM 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901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4D79ED-62A3-F64C-903E-88FC6EB72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ACB4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da-DK"/>
          </a:p>
        </p:txBody>
      </p:sp>
      <p:sp>
        <p:nvSpPr>
          <p:cNvPr id="21" name="Google Shape;310;p38">
            <a:extLst>
              <a:ext uri="{FF2B5EF4-FFF2-40B4-BE49-F238E27FC236}">
                <a16:creationId xmlns:a16="http://schemas.microsoft.com/office/drawing/2014/main" id="{DD3C2ADD-5748-2341-8F3F-B61208C5B56D}"/>
              </a:ext>
            </a:extLst>
          </p:cNvPr>
          <p:cNvSpPr txBox="1"/>
          <p:nvPr userDrawn="1"/>
        </p:nvSpPr>
        <p:spPr>
          <a:xfrm>
            <a:off x="152510" y="6418746"/>
            <a:ext cx="1419245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</a:t>
            </a:r>
            <a:r>
              <a:rPr lang="de" sz="1067" err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Insur</a:t>
            </a:r>
            <a:r>
              <a:rPr lang="de" sz="1067" err="1">
                <a:solidFill>
                  <a:srgbClr val="00ACB4"/>
                </a:solidFill>
                <a:latin typeface="Work Sans"/>
                <a:ea typeface="Work Sans"/>
                <a:cs typeface="Work Sans"/>
                <a:sym typeface="Work Sans"/>
              </a:rPr>
              <a:t>Capital</a:t>
            </a:r>
            <a:endParaRPr sz="1067">
              <a:solidFill>
                <a:srgbClr val="00ACB4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28464900-985C-E848-B0D9-31A1FD07BDF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64686988"/>
              </p:ext>
            </p:extLst>
          </p:nvPr>
        </p:nvGraphicFramePr>
        <p:xfrm>
          <a:off x="6410023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Solution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Table 23">
            <a:extLst>
              <a:ext uri="{FF2B5EF4-FFF2-40B4-BE49-F238E27FC236}">
                <a16:creationId xmlns:a16="http://schemas.microsoft.com/office/drawing/2014/main" id="{22A121A2-88E9-364E-B770-AB9D51EA05F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18911767"/>
              </p:ext>
            </p:extLst>
          </p:nvPr>
        </p:nvGraphicFramePr>
        <p:xfrm>
          <a:off x="10341199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 baseline="0">
                          <a:solidFill>
                            <a:schemeClr val="tx1"/>
                          </a:solidFill>
                          <a:latin typeface="Avenir Bog" charset="0"/>
                        </a:rPr>
                        <a:t>Business Model</a:t>
                      </a:r>
                      <a:endParaRPr lang="en-GB" sz="100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Table 21">
            <a:extLst>
              <a:ext uri="{FF2B5EF4-FFF2-40B4-BE49-F238E27FC236}">
                <a16:creationId xmlns:a16="http://schemas.microsoft.com/office/drawing/2014/main" id="{7D16F124-1E18-524D-9F1B-4BC133782710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98025173"/>
              </p:ext>
            </p:extLst>
          </p:nvPr>
        </p:nvGraphicFramePr>
        <p:xfrm>
          <a:off x="9030805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Market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Table 5">
            <a:extLst>
              <a:ext uri="{FF2B5EF4-FFF2-40B4-BE49-F238E27FC236}">
                <a16:creationId xmlns:a16="http://schemas.microsoft.com/office/drawing/2014/main" id="{BBCAD5F6-EE09-5749-993B-45917A6F779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38251674"/>
              </p:ext>
            </p:extLst>
          </p:nvPr>
        </p:nvGraphicFramePr>
        <p:xfrm>
          <a:off x="5099630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Problem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Table 4">
            <a:extLst>
              <a:ext uri="{FF2B5EF4-FFF2-40B4-BE49-F238E27FC236}">
                <a16:creationId xmlns:a16="http://schemas.microsoft.com/office/drawing/2014/main" id="{A5A5F4A6-DFB6-F040-9BF5-B7869BF818D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5383619"/>
              </p:ext>
            </p:extLst>
          </p:nvPr>
        </p:nvGraphicFramePr>
        <p:xfrm>
          <a:off x="7720414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1" i="0">
                          <a:solidFill>
                            <a:schemeClr val="bg1"/>
                          </a:solidFill>
                          <a:latin typeface="Avenir Bog" charset="0"/>
                        </a:rPr>
                        <a:t>GTM Strategy</a:t>
                      </a: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41788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35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D1976-C000-9549-9F2F-0B649A4E10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ACB4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da-DK"/>
          </a:p>
        </p:txBody>
      </p:sp>
      <p:graphicFrame>
        <p:nvGraphicFramePr>
          <p:cNvPr id="13" name="Table 5">
            <a:extLst>
              <a:ext uri="{FF2B5EF4-FFF2-40B4-BE49-F238E27FC236}">
                <a16:creationId xmlns:a16="http://schemas.microsoft.com/office/drawing/2014/main" id="{37527C83-9472-4841-B941-8AF0E2BC377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42360640"/>
              </p:ext>
            </p:extLst>
          </p:nvPr>
        </p:nvGraphicFramePr>
        <p:xfrm>
          <a:off x="6410023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Solution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Google Shape;310;p38">
            <a:extLst>
              <a:ext uri="{FF2B5EF4-FFF2-40B4-BE49-F238E27FC236}">
                <a16:creationId xmlns:a16="http://schemas.microsoft.com/office/drawing/2014/main" id="{0CF11FE5-FA34-A741-B4D2-093917D3C5AF}"/>
              </a:ext>
            </a:extLst>
          </p:cNvPr>
          <p:cNvSpPr txBox="1"/>
          <p:nvPr userDrawn="1"/>
        </p:nvSpPr>
        <p:spPr>
          <a:xfrm>
            <a:off x="152510" y="6418746"/>
            <a:ext cx="1419245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</a:t>
            </a:r>
            <a:r>
              <a:rPr lang="de" sz="1067" err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Insur</a:t>
            </a:r>
            <a:r>
              <a:rPr lang="de" sz="1067" err="1">
                <a:solidFill>
                  <a:srgbClr val="00ACB4"/>
                </a:solidFill>
                <a:latin typeface="Work Sans"/>
                <a:ea typeface="Work Sans"/>
                <a:cs typeface="Work Sans"/>
                <a:sym typeface="Work Sans"/>
              </a:rPr>
              <a:t>Capital</a:t>
            </a:r>
            <a:endParaRPr sz="1067">
              <a:solidFill>
                <a:srgbClr val="00ACB4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graphicFrame>
        <p:nvGraphicFramePr>
          <p:cNvPr id="20" name="Table 5">
            <a:extLst>
              <a:ext uri="{FF2B5EF4-FFF2-40B4-BE49-F238E27FC236}">
                <a16:creationId xmlns:a16="http://schemas.microsoft.com/office/drawing/2014/main" id="{564C1B83-A773-B14C-8CCC-03A89C90B610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23619023"/>
              </p:ext>
            </p:extLst>
          </p:nvPr>
        </p:nvGraphicFramePr>
        <p:xfrm>
          <a:off x="5099630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Problem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7" name="Table 23">
            <a:extLst>
              <a:ext uri="{FF2B5EF4-FFF2-40B4-BE49-F238E27FC236}">
                <a16:creationId xmlns:a16="http://schemas.microsoft.com/office/drawing/2014/main" id="{F98EC765-473D-0D4E-9DD8-ADB3D0095A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23671807"/>
              </p:ext>
            </p:extLst>
          </p:nvPr>
        </p:nvGraphicFramePr>
        <p:xfrm>
          <a:off x="10341199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 baseline="0">
                          <a:solidFill>
                            <a:schemeClr val="tx1"/>
                          </a:solidFill>
                          <a:latin typeface="Avenir Bog" charset="0"/>
                        </a:rPr>
                        <a:t>Business Model</a:t>
                      </a:r>
                      <a:endParaRPr lang="en-GB" sz="100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8" name="Table 20">
            <a:extLst>
              <a:ext uri="{FF2B5EF4-FFF2-40B4-BE49-F238E27FC236}">
                <a16:creationId xmlns:a16="http://schemas.microsoft.com/office/drawing/2014/main" id="{2A8FE97C-D5A7-164C-8E01-38A17A7437D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90611433"/>
              </p:ext>
            </p:extLst>
          </p:nvPr>
        </p:nvGraphicFramePr>
        <p:xfrm>
          <a:off x="7720414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 kern="1200">
                          <a:solidFill>
                            <a:schemeClr val="tx1"/>
                          </a:solidFill>
                          <a:latin typeface="Avenir Bog" charset="0"/>
                          <a:ea typeface="+mn-ea"/>
                          <a:cs typeface="+mn-cs"/>
                        </a:rPr>
                        <a:t>GTM Strategy</a:t>
                      </a: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Table 4">
            <a:extLst>
              <a:ext uri="{FF2B5EF4-FFF2-40B4-BE49-F238E27FC236}">
                <a16:creationId xmlns:a16="http://schemas.microsoft.com/office/drawing/2014/main" id="{4371D2F3-FBF0-7C4B-B597-4054FB4B89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8678144"/>
              </p:ext>
            </p:extLst>
          </p:nvPr>
        </p:nvGraphicFramePr>
        <p:xfrm>
          <a:off x="9030805" y="6514955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1" i="0">
                          <a:solidFill>
                            <a:schemeClr val="bg1"/>
                          </a:solidFill>
                          <a:latin typeface="Avenir Bog" charset="0"/>
                        </a:rPr>
                        <a:t>Market</a:t>
                      </a: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938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Mo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70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5E9973-1C61-6043-A70F-8F42B0750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ACB4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en-GB"/>
          </a:p>
        </p:txBody>
      </p:sp>
      <p:sp>
        <p:nvSpPr>
          <p:cNvPr id="25" name="Google Shape;310;p38">
            <a:extLst>
              <a:ext uri="{FF2B5EF4-FFF2-40B4-BE49-F238E27FC236}">
                <a16:creationId xmlns:a16="http://schemas.microsoft.com/office/drawing/2014/main" id="{6AA2FFF3-A205-F649-A591-ACD167A67AA2}"/>
              </a:ext>
            </a:extLst>
          </p:cNvPr>
          <p:cNvSpPr txBox="1"/>
          <p:nvPr userDrawn="1"/>
        </p:nvSpPr>
        <p:spPr>
          <a:xfrm>
            <a:off x="152510" y="6418746"/>
            <a:ext cx="1419245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</a:t>
            </a:r>
            <a:r>
              <a:rPr lang="de" sz="1067" err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Insur</a:t>
            </a:r>
            <a:r>
              <a:rPr lang="de" sz="1067" err="1">
                <a:solidFill>
                  <a:srgbClr val="00ACB4"/>
                </a:solidFill>
                <a:latin typeface="Work Sans"/>
                <a:ea typeface="Work Sans"/>
                <a:cs typeface="Work Sans"/>
                <a:sym typeface="Work Sans"/>
              </a:rPr>
              <a:t>Capital</a:t>
            </a:r>
            <a:endParaRPr sz="1067">
              <a:solidFill>
                <a:srgbClr val="00ACB4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CEE07A91-3CC3-F142-A445-88280027B4A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4110730"/>
              </p:ext>
            </p:extLst>
          </p:nvPr>
        </p:nvGraphicFramePr>
        <p:xfrm>
          <a:off x="6410023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Solution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9" name="Table 5">
            <a:extLst>
              <a:ext uri="{FF2B5EF4-FFF2-40B4-BE49-F238E27FC236}">
                <a16:creationId xmlns:a16="http://schemas.microsoft.com/office/drawing/2014/main" id="{05CF6003-0889-3545-86CB-181AB04FE8A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87537858"/>
              </p:ext>
            </p:extLst>
          </p:nvPr>
        </p:nvGraphicFramePr>
        <p:xfrm>
          <a:off x="5099630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Problem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1" name="Table 20">
            <a:extLst>
              <a:ext uri="{FF2B5EF4-FFF2-40B4-BE49-F238E27FC236}">
                <a16:creationId xmlns:a16="http://schemas.microsoft.com/office/drawing/2014/main" id="{6E53F725-3569-6F41-B106-557464B1D0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90611433"/>
              </p:ext>
            </p:extLst>
          </p:nvPr>
        </p:nvGraphicFramePr>
        <p:xfrm>
          <a:off x="7720414" y="6514958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 kern="1200">
                          <a:solidFill>
                            <a:schemeClr val="tx1"/>
                          </a:solidFill>
                          <a:latin typeface="Avenir Bog" charset="0"/>
                          <a:ea typeface="+mn-ea"/>
                          <a:cs typeface="+mn-cs"/>
                        </a:rPr>
                        <a:t>GTM Strategy</a:t>
                      </a: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" name="Table 21">
            <a:extLst>
              <a:ext uri="{FF2B5EF4-FFF2-40B4-BE49-F238E27FC236}">
                <a16:creationId xmlns:a16="http://schemas.microsoft.com/office/drawing/2014/main" id="{861057BA-0034-7240-905D-CFDAEC983EF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36300096"/>
              </p:ext>
            </p:extLst>
          </p:nvPr>
        </p:nvGraphicFramePr>
        <p:xfrm>
          <a:off x="9030805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0" i="0">
                          <a:solidFill>
                            <a:schemeClr val="tx1"/>
                          </a:solidFill>
                          <a:latin typeface="Avenir Bog" charset="0"/>
                        </a:rPr>
                        <a:t>Market</a:t>
                      </a:r>
                      <a:endParaRPr lang="en-GB" sz="1050" b="0" i="0">
                        <a:solidFill>
                          <a:schemeClr val="tx1"/>
                        </a:solidFill>
                        <a:latin typeface="Avenir Bog" charset="0"/>
                      </a:endParaRP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AC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4" name="Table 4">
            <a:extLst>
              <a:ext uri="{FF2B5EF4-FFF2-40B4-BE49-F238E27FC236}">
                <a16:creationId xmlns:a16="http://schemas.microsoft.com/office/drawing/2014/main" id="{0E4873C3-A7FA-A54E-9D8A-ED193E7A415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19218842"/>
              </p:ext>
            </p:extLst>
          </p:nvPr>
        </p:nvGraphicFramePr>
        <p:xfrm>
          <a:off x="10341199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1" i="0">
                          <a:solidFill>
                            <a:schemeClr val="bg1"/>
                          </a:solidFill>
                          <a:latin typeface="Avenir Bog" charset="0"/>
                        </a:rPr>
                        <a:t>Business Model</a:t>
                      </a: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3097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79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42CA4A-FE4D-4F4C-95C8-AE8A6F8A49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ACB4"/>
                </a:solidFill>
              </a:defRPr>
            </a:lvl1pPr>
          </a:lstStyle>
          <a:p>
            <a:r>
              <a:rPr lang="en-US"/>
              <a:t>Write an action title here</a:t>
            </a:r>
            <a:endParaRPr lang="da-DK"/>
          </a:p>
        </p:txBody>
      </p:sp>
      <p:sp>
        <p:nvSpPr>
          <p:cNvPr id="9" name="Google Shape;310;p38">
            <a:extLst>
              <a:ext uri="{FF2B5EF4-FFF2-40B4-BE49-F238E27FC236}">
                <a16:creationId xmlns:a16="http://schemas.microsoft.com/office/drawing/2014/main" id="{0EC2B435-5C95-BA40-9504-FC4151CD2B32}"/>
              </a:ext>
            </a:extLst>
          </p:cNvPr>
          <p:cNvSpPr txBox="1"/>
          <p:nvPr userDrawn="1"/>
        </p:nvSpPr>
        <p:spPr>
          <a:xfrm>
            <a:off x="152510" y="6418746"/>
            <a:ext cx="1419245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" sz="1067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© 2021 </a:t>
            </a:r>
            <a:r>
              <a:rPr lang="de" sz="1067" err="1">
                <a:solidFill>
                  <a:schemeClr val="tx1"/>
                </a:solidFill>
                <a:latin typeface="Work Sans"/>
                <a:ea typeface="Work Sans"/>
                <a:cs typeface="Work Sans"/>
                <a:sym typeface="Work Sans"/>
              </a:rPr>
              <a:t>Insur</a:t>
            </a:r>
            <a:r>
              <a:rPr lang="de" sz="1067" err="1">
                <a:solidFill>
                  <a:srgbClr val="00ACB4"/>
                </a:solidFill>
                <a:latin typeface="Work Sans"/>
                <a:ea typeface="Work Sans"/>
                <a:cs typeface="Work Sans"/>
                <a:sym typeface="Work Sans"/>
              </a:rPr>
              <a:t>Capital</a:t>
            </a:r>
            <a:endParaRPr sz="1067">
              <a:solidFill>
                <a:srgbClr val="00ACB4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0C564FB-6E3A-4140-8EDB-252026A47E9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59969115"/>
              </p:ext>
            </p:extLst>
          </p:nvPr>
        </p:nvGraphicFramePr>
        <p:xfrm>
          <a:off x="10341199" y="6514956"/>
          <a:ext cx="1069950" cy="24515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151">
                <a:tc>
                  <a:txBody>
                    <a:bodyPr/>
                    <a:lstStyle/>
                    <a:p>
                      <a:pPr algn="ctr"/>
                      <a:r>
                        <a:rPr lang="en-GB" sz="700" b="1" i="0">
                          <a:solidFill>
                            <a:schemeClr val="bg1"/>
                          </a:solidFill>
                          <a:latin typeface="Avenir Bog" charset="0"/>
                        </a:rPr>
                        <a:t>Appendix</a:t>
                      </a:r>
                    </a:p>
                  </a:txBody>
                  <a:tcPr marT="34290" marB="3429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7024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9E710E-0011-274D-B073-E5FB40FDDC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22601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9E710E-0011-274D-B073-E5FB40FDDC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592A68-820E-A749-9595-ECD82C81569A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3200" b="0" i="0" baseline="0">
              <a:latin typeface="Corbel" panose="020B0503020204020204" pitchFamily="34" charset="0"/>
              <a:ea typeface="Yu Gothic" panose="020B0400000000000000" pitchFamily="34" charset="-128"/>
              <a:sym typeface="Corbel" panose="020B0503020204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837BC6-FC85-0C40-8933-AC14C9FD9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6" y="443781"/>
            <a:ext cx="11253216" cy="6917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Write an action </a:t>
            </a:r>
            <a:r>
              <a:rPr lang="da-DK" err="1"/>
              <a:t>title</a:t>
            </a:r>
            <a:r>
              <a:rPr lang="da-DK"/>
              <a:t> </a:t>
            </a:r>
            <a:r>
              <a:rPr lang="da-DK" err="1"/>
              <a:t>her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722BB0-5150-4C46-A770-7DA719A1B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3296" y="1211283"/>
            <a:ext cx="11253216" cy="4965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F1B1F7-E68A-BA48-83CB-7C9B9B61A13F}"/>
              </a:ext>
            </a:extLst>
          </p:cNvPr>
          <p:cNvCxnSpPr/>
          <p:nvPr userDrawn="1"/>
        </p:nvCxnSpPr>
        <p:spPr>
          <a:xfrm>
            <a:off x="501905" y="260492"/>
            <a:ext cx="540000" cy="0"/>
          </a:xfrm>
          <a:prstGeom prst="line">
            <a:avLst/>
          </a:prstGeom>
          <a:ln w="25400">
            <a:solidFill>
              <a:srgbClr val="E30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9646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8" r:id="rId2"/>
    <p:sldLayoutId id="2147483672" r:id="rId3"/>
    <p:sldLayoutId id="2147483679" r:id="rId4"/>
    <p:sldLayoutId id="2147483673" r:id="rId5"/>
    <p:sldLayoutId id="2147483674" r:id="rId6"/>
    <p:sldLayoutId id="2147483675" r:id="rId7"/>
    <p:sldLayoutId id="2147483677" r:id="rId8"/>
    <p:sldLayoutId id="2147483676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E30D3C"/>
          </a:solidFill>
          <a:latin typeface="Corbel" panose="020B0503020204020204" pitchFamily="34" charset="0"/>
          <a:ea typeface="Yu Gothic" panose="020B0400000000000000" pitchFamily="34" charset="-128"/>
          <a:cs typeface="Eras Medium ITC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  <p15:guide id="6" pos="3704" userDrawn="1">
          <p15:clr>
            <a:srgbClr val="F26B43"/>
          </p15:clr>
        </p15:guide>
        <p15:guide id="7" pos="39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4.png"/><Relationship Id="rId4" Type="http://schemas.openxmlformats.org/officeDocument/2006/relationships/hyperlink" Target="https://demo.metarank.ai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4"/>
          <p:cNvSpPr txBox="1">
            <a:spLocks noGrp="1"/>
          </p:cNvSpPr>
          <p:nvPr>
            <p:ph type="ctrTitle"/>
          </p:nvPr>
        </p:nvSpPr>
        <p:spPr>
          <a:xfrm>
            <a:off x="437532" y="577400"/>
            <a:ext cx="10830800" cy="285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rmAutofit/>
          </a:bodyPr>
          <a:lstStyle/>
          <a:p>
            <a:r>
              <a:rPr lang="en-US" sz="7200">
                <a:solidFill>
                  <a:schemeClr val="bg1"/>
                </a:solidFill>
              </a:rPr>
              <a:t>SMART</a:t>
            </a:r>
            <a:r>
              <a:rPr lang="en-US" sz="7200" b="1">
                <a:solidFill>
                  <a:srgbClr val="E30D3C"/>
                </a:solidFill>
              </a:rPr>
              <a:t>CUBE</a:t>
            </a:r>
            <a:br>
              <a:rPr lang="en" sz="1600" i="1"/>
            </a:br>
            <a:r>
              <a:rPr lang="en" sz="2800" i="1"/>
              <a:t>“Your Personalized TV Experience”</a:t>
            </a:r>
            <a:endParaRPr sz="2000" i="1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EBDEDB-9E51-7742-9BAB-9256BCB4AA9F}"/>
              </a:ext>
            </a:extLst>
          </p:cNvPr>
          <p:cNvSpPr txBox="1"/>
          <p:nvPr/>
        </p:nvSpPr>
        <p:spPr>
          <a:xfrm>
            <a:off x="1912471" y="4040096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EAB6-127A-254D-B707-3629D15F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600" b="1">
                <a:latin typeface="Corbel"/>
                <a:ea typeface="Yu Gothic"/>
              </a:rPr>
              <a:t>Problem</a:t>
            </a:r>
            <a:endParaRPr lang="en-DE" b="1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D51A046-F98E-44A7-ADD1-AEB3FFD4BD60}"/>
              </a:ext>
            </a:extLst>
          </p:cNvPr>
          <p:cNvSpPr txBox="1"/>
          <p:nvPr/>
        </p:nvSpPr>
        <p:spPr>
          <a:xfrm>
            <a:off x="463296" y="1888462"/>
            <a:ext cx="10440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latin typeface="Corbel" panose="020B0503020204020204" pitchFamily="34" charset="0"/>
              </a:rPr>
              <a:t>Most people are </a:t>
            </a:r>
            <a:r>
              <a:rPr lang="en-US" sz="2800" b="1">
                <a:latin typeface="Corbel" panose="020B0503020204020204" pitchFamily="34" charset="0"/>
              </a:rPr>
              <a:t>unsatisfied</a:t>
            </a:r>
            <a:r>
              <a:rPr lang="en-US" sz="2800">
                <a:latin typeface="Corbel" panose="020B0503020204020204" pitchFamily="34" charset="0"/>
              </a:rPr>
              <a:t> with their </a:t>
            </a:r>
            <a:r>
              <a:rPr lang="en-US" sz="2800" b="1">
                <a:latin typeface="Corbel" panose="020B0503020204020204" pitchFamily="34" charset="0"/>
              </a:rPr>
              <a:t>TV recommendations</a:t>
            </a:r>
            <a:r>
              <a:rPr lang="en-US" sz="2800">
                <a:latin typeface="Corbel" panose="020B0503020204020204" pitchFamily="34" charset="0"/>
              </a:rPr>
              <a:t> …</a:t>
            </a:r>
          </a:p>
        </p:txBody>
      </p:sp>
      <p:sp>
        <p:nvSpPr>
          <p:cNvPr id="71" name="TextBox 46">
            <a:extLst>
              <a:ext uri="{FF2B5EF4-FFF2-40B4-BE49-F238E27FC236}">
                <a16:creationId xmlns:a16="http://schemas.microsoft.com/office/drawing/2014/main" id="{9D336279-0FB6-E140-8830-F96B6CB93A1B}"/>
              </a:ext>
            </a:extLst>
          </p:cNvPr>
          <p:cNvSpPr txBox="1"/>
          <p:nvPr/>
        </p:nvSpPr>
        <p:spPr>
          <a:xfrm>
            <a:off x="463296" y="3202189"/>
            <a:ext cx="10440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latin typeface="Corbel" panose="020B0503020204020204" pitchFamily="34" charset="0"/>
              </a:rPr>
              <a:t>… because </a:t>
            </a:r>
            <a:r>
              <a:rPr lang="en-US" sz="2800" b="1">
                <a:latin typeface="Corbel" panose="020B0503020204020204" pitchFamily="34" charset="0"/>
              </a:rPr>
              <a:t>only</a:t>
            </a:r>
            <a:r>
              <a:rPr lang="en-US" sz="2800" b="1">
                <a:solidFill>
                  <a:srgbClr val="E30D3C"/>
                </a:solidFill>
                <a:latin typeface="Corbel" panose="020B0503020204020204" pitchFamily="34" charset="0"/>
              </a:rPr>
              <a:t> </a:t>
            </a:r>
            <a:r>
              <a:rPr lang="en-US" sz="2800">
                <a:latin typeface="Corbel" panose="020B0503020204020204" pitchFamily="34" charset="0"/>
              </a:rPr>
              <a:t>their </a:t>
            </a:r>
            <a:r>
              <a:rPr lang="en-US" sz="2800" b="1">
                <a:latin typeface="Corbel" panose="020B0503020204020204" pitchFamily="34" charset="0"/>
              </a:rPr>
              <a:t>viewing history </a:t>
            </a:r>
            <a:r>
              <a:rPr lang="en-US" sz="2800">
                <a:latin typeface="Corbel" panose="020B0503020204020204" pitchFamily="34" charset="0"/>
              </a:rPr>
              <a:t>and </a:t>
            </a:r>
            <a:r>
              <a:rPr lang="en-US" sz="2800" b="1">
                <a:latin typeface="Corbel" panose="020B0503020204020204" pitchFamily="34" charset="0"/>
              </a:rPr>
              <a:t>ratings</a:t>
            </a:r>
            <a:r>
              <a:rPr lang="en-US" sz="2800">
                <a:latin typeface="Corbel" panose="020B0503020204020204" pitchFamily="34" charset="0"/>
              </a:rPr>
              <a:t> are considered</a:t>
            </a:r>
          </a:p>
        </p:txBody>
      </p:sp>
      <p:sp>
        <p:nvSpPr>
          <p:cNvPr id="76" name="TextBox 46">
            <a:extLst>
              <a:ext uri="{FF2B5EF4-FFF2-40B4-BE49-F238E27FC236}">
                <a16:creationId xmlns:a16="http://schemas.microsoft.com/office/drawing/2014/main" id="{D51EA024-25BF-A749-994C-D6304F005390}"/>
              </a:ext>
            </a:extLst>
          </p:cNvPr>
          <p:cNvSpPr txBox="1"/>
          <p:nvPr/>
        </p:nvSpPr>
        <p:spPr>
          <a:xfrm>
            <a:off x="463296" y="4515915"/>
            <a:ext cx="10440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latin typeface="Corbel" panose="020B0503020204020204" pitchFamily="34" charset="0"/>
              </a:rPr>
              <a:t>... </a:t>
            </a:r>
            <a:r>
              <a:rPr lang="en-US" sz="2800" b="1">
                <a:latin typeface="Corbel" panose="020B0503020204020204" pitchFamily="34" charset="0"/>
              </a:rPr>
              <a:t>but not </a:t>
            </a:r>
            <a:r>
              <a:rPr lang="en-US" sz="2800">
                <a:latin typeface="Corbel" panose="020B0503020204020204" pitchFamily="34" charset="0"/>
              </a:rPr>
              <a:t>their current </a:t>
            </a:r>
            <a:r>
              <a:rPr lang="en-US" sz="2800" b="1">
                <a:latin typeface="Corbel" panose="020B0503020204020204" pitchFamily="34" charset="0"/>
              </a:rPr>
              <a:t>mood </a:t>
            </a:r>
            <a:r>
              <a:rPr lang="en-US" sz="2800">
                <a:latin typeface="Corbel" panose="020B0503020204020204" pitchFamily="34" charset="0"/>
              </a:rPr>
              <a:t>or </a:t>
            </a:r>
            <a:r>
              <a:rPr lang="en-US" sz="2800" b="1">
                <a:latin typeface="Corbel" panose="020B0503020204020204" pitchFamily="34" charset="0"/>
              </a:rPr>
              <a:t>social interactions</a:t>
            </a:r>
          </a:p>
        </p:txBody>
      </p:sp>
    </p:spTree>
    <p:extLst>
      <p:ext uri="{BB962C8B-B14F-4D97-AF65-F5344CB8AC3E}">
        <p14:creationId xmlns:p14="http://schemas.microsoft.com/office/powerpoint/2010/main" val="4043669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EAB6-127A-254D-B707-3629D15F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600" b="1">
                <a:solidFill>
                  <a:srgbClr val="E30D3C"/>
                </a:solidFill>
                <a:latin typeface="Corbel"/>
                <a:ea typeface="Yu Gothic"/>
              </a:rPr>
              <a:t>Solution</a:t>
            </a:r>
            <a:endParaRPr lang="en-DE" sz="3600" b="1">
              <a:solidFill>
                <a:srgbClr val="E30D3C"/>
              </a:solidFill>
            </a:endParaRPr>
          </a:p>
        </p:txBody>
      </p:sp>
      <p:pic>
        <p:nvPicPr>
          <p:cNvPr id="4" name="Picture 3" descr="Sunrise UPC GmbH – Berufsbildungscenter">
            <a:extLst>
              <a:ext uri="{FF2B5EF4-FFF2-40B4-BE49-F238E27FC236}">
                <a16:creationId xmlns:a16="http://schemas.microsoft.com/office/drawing/2014/main" id="{81E3ECEC-E298-9641-840C-5F299B5BB3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62" r="27553"/>
          <a:stretch/>
        </p:blipFill>
        <p:spPr bwMode="auto">
          <a:xfrm>
            <a:off x="11196668" y="119001"/>
            <a:ext cx="798472" cy="855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46">
            <a:extLst>
              <a:ext uri="{FF2B5EF4-FFF2-40B4-BE49-F238E27FC236}">
                <a16:creationId xmlns:a16="http://schemas.microsoft.com/office/drawing/2014/main" id="{8113D14F-A998-1C4C-B974-D17DD7330154}"/>
              </a:ext>
            </a:extLst>
          </p:cNvPr>
          <p:cNvSpPr txBox="1"/>
          <p:nvPr/>
        </p:nvSpPr>
        <p:spPr>
          <a:xfrm>
            <a:off x="7446289" y="2666897"/>
            <a:ext cx="37503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latin typeface="Corbel" panose="020B0503020204020204" pitchFamily="34" charset="0"/>
              </a:rPr>
              <a:t>Save Tim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BD9F5AF-CD50-A34D-B0F6-50CA1731B45A}"/>
              </a:ext>
            </a:extLst>
          </p:cNvPr>
          <p:cNvGrpSpPr/>
          <p:nvPr/>
        </p:nvGrpSpPr>
        <p:grpSpPr>
          <a:xfrm>
            <a:off x="722763" y="2547979"/>
            <a:ext cx="4627721" cy="3481954"/>
            <a:chOff x="463296" y="2024704"/>
            <a:chExt cx="5231196" cy="3936016"/>
          </a:xfrm>
        </p:grpSpPr>
        <p:pic>
          <p:nvPicPr>
            <p:cNvPr id="17420" name="Picture 12" descr="Xiaomi Aqara Magic Cube Smart Home Controller: Alles per Würfel steuern">
              <a:extLst>
                <a:ext uri="{FF2B5EF4-FFF2-40B4-BE49-F238E27FC236}">
                  <a16:creationId xmlns:a16="http://schemas.microsoft.com/office/drawing/2014/main" id="{3BE317AD-C085-CB42-9E06-57905A7682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79" b="6545"/>
            <a:stretch/>
          </p:blipFill>
          <p:spPr bwMode="auto">
            <a:xfrm>
              <a:off x="463296" y="2024704"/>
              <a:ext cx="5231196" cy="39360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A95B8787-F351-C046-8EF6-9A68F51173F5}"/>
                </a:ext>
              </a:extLst>
            </p:cNvPr>
            <p:cNvSpPr/>
            <p:nvPr/>
          </p:nvSpPr>
          <p:spPr>
            <a:xfrm>
              <a:off x="2328018" y="2125634"/>
              <a:ext cx="1169043" cy="1145893"/>
            </a:xfrm>
            <a:prstGeom prst="rect">
              <a:avLst/>
            </a:prstGeom>
            <a:solidFill>
              <a:srgbClr val="F5F1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246B1644-532E-424D-80FA-F9993E5F8E1F}"/>
              </a:ext>
            </a:extLst>
          </p:cNvPr>
          <p:cNvSpPr/>
          <p:nvPr/>
        </p:nvSpPr>
        <p:spPr>
          <a:xfrm>
            <a:off x="3217176" y="2692794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E45E5AE-8EF7-DC42-8F0F-09884CAB3FA9}"/>
              </a:ext>
            </a:extLst>
          </p:cNvPr>
          <p:cNvSpPr/>
          <p:nvPr/>
        </p:nvSpPr>
        <p:spPr>
          <a:xfrm>
            <a:off x="2687279" y="2692794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9F91C8C-82E7-8A4C-B030-713EE7381476}"/>
              </a:ext>
            </a:extLst>
          </p:cNvPr>
          <p:cNvSpPr/>
          <p:nvPr/>
        </p:nvSpPr>
        <p:spPr>
          <a:xfrm>
            <a:off x="3040545" y="2692794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CF3CAF0-EA4A-4442-8814-9805F09E1422}"/>
              </a:ext>
            </a:extLst>
          </p:cNvPr>
          <p:cNvSpPr/>
          <p:nvPr/>
        </p:nvSpPr>
        <p:spPr>
          <a:xfrm>
            <a:off x="2863912" y="2692794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98395A4-57E1-144D-BCBC-F0D4352CFB65}"/>
              </a:ext>
            </a:extLst>
          </p:cNvPr>
          <p:cNvSpPr/>
          <p:nvPr/>
        </p:nvSpPr>
        <p:spPr>
          <a:xfrm>
            <a:off x="2510646" y="2925706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  <a:p>
            <a:pPr algn="ctr"/>
            <a:endParaRPr lang="de-D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614531D-4246-B247-BA21-760321818E51}"/>
              </a:ext>
            </a:extLst>
          </p:cNvPr>
          <p:cNvSpPr/>
          <p:nvPr/>
        </p:nvSpPr>
        <p:spPr>
          <a:xfrm>
            <a:off x="2508063" y="3158945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371144-0DBB-FF4B-8FB2-551C12906998}"/>
              </a:ext>
            </a:extLst>
          </p:cNvPr>
          <p:cNvSpPr/>
          <p:nvPr/>
        </p:nvSpPr>
        <p:spPr>
          <a:xfrm>
            <a:off x="2510646" y="2692794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A20B8D8-53C4-EF41-91CA-26B5ACAFD0CD}"/>
              </a:ext>
            </a:extLst>
          </p:cNvPr>
          <p:cNvSpPr/>
          <p:nvPr/>
        </p:nvSpPr>
        <p:spPr>
          <a:xfrm>
            <a:off x="2685341" y="3158945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6AC2725-92DC-B64E-A405-332A8F1F61A4}"/>
              </a:ext>
            </a:extLst>
          </p:cNvPr>
          <p:cNvSpPr/>
          <p:nvPr/>
        </p:nvSpPr>
        <p:spPr>
          <a:xfrm>
            <a:off x="2862619" y="3158945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2D9761E-FB24-0F4A-A3E1-B27ECAA34640}"/>
              </a:ext>
            </a:extLst>
          </p:cNvPr>
          <p:cNvSpPr/>
          <p:nvPr/>
        </p:nvSpPr>
        <p:spPr>
          <a:xfrm>
            <a:off x="3039897" y="3158945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2DB8DE8-F227-5042-AC8A-C66E0F89B060}"/>
              </a:ext>
            </a:extLst>
          </p:cNvPr>
          <p:cNvSpPr/>
          <p:nvPr/>
        </p:nvSpPr>
        <p:spPr>
          <a:xfrm>
            <a:off x="3217176" y="3158945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9D7E87D-1D9D-0743-A67A-A58497695EC6}"/>
              </a:ext>
            </a:extLst>
          </p:cNvPr>
          <p:cNvSpPr/>
          <p:nvPr/>
        </p:nvSpPr>
        <p:spPr>
          <a:xfrm>
            <a:off x="3217176" y="3398730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F82ACF0-3123-754D-9733-F69E31E14F1E}"/>
              </a:ext>
            </a:extLst>
          </p:cNvPr>
          <p:cNvSpPr/>
          <p:nvPr/>
        </p:nvSpPr>
        <p:spPr>
          <a:xfrm>
            <a:off x="3217174" y="3631643"/>
            <a:ext cx="65455" cy="65455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38C5CDDC-E67A-924E-A311-62FB923A07DF}"/>
              </a:ext>
            </a:extLst>
          </p:cNvPr>
          <p:cNvSpPr/>
          <p:nvPr/>
        </p:nvSpPr>
        <p:spPr>
          <a:xfrm>
            <a:off x="2510646" y="3624770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633D717-AFF0-CF43-8D05-A217827169FB}"/>
              </a:ext>
            </a:extLst>
          </p:cNvPr>
          <p:cNvSpPr/>
          <p:nvPr/>
        </p:nvSpPr>
        <p:spPr>
          <a:xfrm>
            <a:off x="2687278" y="3624770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1E7DB3B-E787-F347-B9F7-4B1020008BEC}"/>
              </a:ext>
            </a:extLst>
          </p:cNvPr>
          <p:cNvSpPr/>
          <p:nvPr/>
        </p:nvSpPr>
        <p:spPr>
          <a:xfrm>
            <a:off x="2863910" y="3624770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0E8BB46-CB46-FC42-B49B-276CAB145437}"/>
              </a:ext>
            </a:extLst>
          </p:cNvPr>
          <p:cNvSpPr/>
          <p:nvPr/>
        </p:nvSpPr>
        <p:spPr>
          <a:xfrm>
            <a:off x="3040542" y="3624770"/>
            <a:ext cx="65455" cy="72000"/>
          </a:xfrm>
          <a:prstGeom prst="ellipse">
            <a:avLst/>
          </a:prstGeom>
          <a:gradFill flip="none" rotWithShape="1">
            <a:gsLst>
              <a:gs pos="0">
                <a:srgbClr val="E30D3C">
                  <a:tint val="66000"/>
                  <a:satMod val="160000"/>
                </a:srgbClr>
              </a:gs>
              <a:gs pos="50000">
                <a:srgbClr val="E30D3C">
                  <a:tint val="44500"/>
                  <a:satMod val="160000"/>
                </a:srgbClr>
              </a:gs>
              <a:gs pos="100000">
                <a:srgbClr val="E30D3C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6EB00B1-5251-F644-9E01-B594CFFF3E8F}"/>
              </a:ext>
            </a:extLst>
          </p:cNvPr>
          <p:cNvSpPr/>
          <p:nvPr/>
        </p:nvSpPr>
        <p:spPr>
          <a:xfrm>
            <a:off x="463296" y="1211698"/>
            <a:ext cx="10868319" cy="113877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3600" b="1"/>
              <a:t>SMART</a:t>
            </a:r>
            <a:r>
              <a:rPr lang="en-US" sz="3600" b="1">
                <a:solidFill>
                  <a:srgbClr val="C00000"/>
                </a:solidFill>
              </a:rPr>
              <a:t>CUBE</a:t>
            </a:r>
            <a:r>
              <a:rPr lang="en-US" sz="3200" b="1"/>
              <a:t>: </a:t>
            </a:r>
            <a:r>
              <a:rPr lang="en-US" sz="3200">
                <a:latin typeface="Corbel" panose="020B0503020204020204" pitchFamily="34" charset="0"/>
              </a:rPr>
              <a:t>Define your current TV mood and get better personalized recommendations</a:t>
            </a:r>
          </a:p>
        </p:txBody>
      </p:sp>
      <p:sp>
        <p:nvSpPr>
          <p:cNvPr id="42" name="TextBox 46">
            <a:extLst>
              <a:ext uri="{FF2B5EF4-FFF2-40B4-BE49-F238E27FC236}">
                <a16:creationId xmlns:a16="http://schemas.microsoft.com/office/drawing/2014/main" id="{DFD20616-14F8-1F49-8CD8-66A37A882582}"/>
              </a:ext>
            </a:extLst>
          </p:cNvPr>
          <p:cNvSpPr txBox="1"/>
          <p:nvPr/>
        </p:nvSpPr>
        <p:spPr>
          <a:xfrm>
            <a:off x="7446289" y="3924890"/>
            <a:ext cx="37503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latin typeface="Corbel" panose="020B0503020204020204" pitchFamily="34" charset="0"/>
              </a:rPr>
              <a:t>Spare your Nerves</a:t>
            </a:r>
          </a:p>
        </p:txBody>
      </p:sp>
      <p:sp>
        <p:nvSpPr>
          <p:cNvPr id="43" name="TextBox 46">
            <a:extLst>
              <a:ext uri="{FF2B5EF4-FFF2-40B4-BE49-F238E27FC236}">
                <a16:creationId xmlns:a16="http://schemas.microsoft.com/office/drawing/2014/main" id="{01E700F6-08D8-CA4A-8286-89C5F2BCCABD}"/>
              </a:ext>
            </a:extLst>
          </p:cNvPr>
          <p:cNvSpPr txBox="1"/>
          <p:nvPr/>
        </p:nvSpPr>
        <p:spPr>
          <a:xfrm>
            <a:off x="7446289" y="5334273"/>
            <a:ext cx="37503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latin typeface="Corbel" panose="020B0503020204020204" pitchFamily="34" charset="0"/>
              </a:rPr>
              <a:t>Enjoy more</a:t>
            </a:r>
          </a:p>
        </p:txBody>
      </p:sp>
      <p:pic>
        <p:nvPicPr>
          <p:cNvPr id="24" name="Grafik 23" descr="Tanz mit einfarbiger Füllung">
            <a:extLst>
              <a:ext uri="{FF2B5EF4-FFF2-40B4-BE49-F238E27FC236}">
                <a16:creationId xmlns:a16="http://schemas.microsoft.com/office/drawing/2014/main" id="{69A5D181-35D7-1B47-9378-D4B0A2C42B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48848" y="5138683"/>
            <a:ext cx="914400" cy="914400"/>
          </a:xfrm>
          <a:prstGeom prst="rect">
            <a:avLst/>
          </a:prstGeom>
        </p:spPr>
      </p:pic>
      <p:pic>
        <p:nvPicPr>
          <p:cNvPr id="44" name="Grafik 43" descr="Lachendes Gesicht mit einfarbiger Füllung mit einfarbiger Füllung">
            <a:extLst>
              <a:ext uri="{FF2B5EF4-FFF2-40B4-BE49-F238E27FC236}">
                <a16:creationId xmlns:a16="http://schemas.microsoft.com/office/drawing/2014/main" id="{7782B15F-264C-164C-9178-9195508F24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48848" y="3822220"/>
            <a:ext cx="914400" cy="914400"/>
          </a:xfrm>
          <a:prstGeom prst="rect">
            <a:avLst/>
          </a:prstGeom>
        </p:spPr>
      </p:pic>
      <p:pic>
        <p:nvPicPr>
          <p:cNvPr id="46" name="Grafik 45" descr="Stoppuhr 75% mit einfarbiger Füllung">
            <a:extLst>
              <a:ext uri="{FF2B5EF4-FFF2-40B4-BE49-F238E27FC236}">
                <a16:creationId xmlns:a16="http://schemas.microsoft.com/office/drawing/2014/main" id="{87DA556C-D37E-D74C-A8AA-4281F7BCB1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48848" y="250575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9165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EAB6-127A-254D-B707-3629D15F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600" b="1" err="1">
                <a:solidFill>
                  <a:srgbClr val="E30D3C"/>
                </a:solidFill>
                <a:latin typeface="Corbel"/>
                <a:ea typeface="Yu Gothic"/>
              </a:rPr>
              <a:t>Product</a:t>
            </a:r>
            <a:r>
              <a:rPr lang="de-CH" sz="3600" b="1">
                <a:solidFill>
                  <a:srgbClr val="E30D3C"/>
                </a:solidFill>
                <a:latin typeface="Corbel"/>
                <a:ea typeface="Yu Gothic"/>
              </a:rPr>
              <a:t> </a:t>
            </a:r>
            <a:r>
              <a:rPr lang="de-CH" sz="3600" b="1" err="1">
                <a:solidFill>
                  <a:srgbClr val="E30D3C"/>
                </a:solidFill>
                <a:latin typeface="Corbel"/>
                <a:ea typeface="Yu Gothic"/>
              </a:rPr>
              <a:t>Use</a:t>
            </a:r>
            <a:r>
              <a:rPr lang="de-CH" sz="3600" b="1">
                <a:solidFill>
                  <a:srgbClr val="E30D3C"/>
                </a:solidFill>
                <a:latin typeface="Corbel"/>
                <a:ea typeface="Yu Gothic"/>
              </a:rPr>
              <a:t> Case</a:t>
            </a:r>
            <a:endParaRPr lang="en-DE" sz="3600" b="1">
              <a:solidFill>
                <a:srgbClr val="E30D3C"/>
              </a:solidFill>
            </a:endParaRPr>
          </a:p>
        </p:txBody>
      </p:sp>
      <p:pic>
        <p:nvPicPr>
          <p:cNvPr id="4" name="Spot_w_thanks_23" descr="Spot_w_thanks_23">
            <a:hlinkClick r:id="" action="ppaction://media"/>
            <a:extLst>
              <a:ext uri="{FF2B5EF4-FFF2-40B4-BE49-F238E27FC236}">
                <a16:creationId xmlns:a16="http://schemas.microsoft.com/office/drawing/2014/main" id="{E3359828-0ED3-D140-BAE4-D4C3D09315D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211284" y="1111810"/>
            <a:ext cx="9477358" cy="5331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800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77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EAB6-127A-254D-B707-3629D15F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600" b="1" err="1">
                <a:solidFill>
                  <a:srgbClr val="E30D3C"/>
                </a:solidFill>
                <a:latin typeface="Corbel"/>
                <a:ea typeface="Yu Gothic"/>
              </a:rPr>
              <a:t>Product</a:t>
            </a:r>
            <a:r>
              <a:rPr lang="de-CH" sz="3600" b="1">
                <a:solidFill>
                  <a:srgbClr val="E30D3C"/>
                </a:solidFill>
                <a:latin typeface="Corbel"/>
                <a:ea typeface="Yu Gothic"/>
              </a:rPr>
              <a:t> Technology </a:t>
            </a:r>
            <a:endParaRPr lang="en-DE" sz="3600" b="1">
              <a:solidFill>
                <a:srgbClr val="E30D3C"/>
              </a:solidFill>
            </a:endParaRPr>
          </a:p>
        </p:txBody>
      </p:sp>
      <p:sp>
        <p:nvSpPr>
          <p:cNvPr id="30" name="TextBox 46">
            <a:extLst>
              <a:ext uri="{FF2B5EF4-FFF2-40B4-BE49-F238E27FC236}">
                <a16:creationId xmlns:a16="http://schemas.microsoft.com/office/drawing/2014/main" id="{969E4A66-2340-5541-9FE9-79C5FA36309F}"/>
              </a:ext>
            </a:extLst>
          </p:cNvPr>
          <p:cNvSpPr txBox="1"/>
          <p:nvPr/>
        </p:nvSpPr>
        <p:spPr>
          <a:xfrm>
            <a:off x="463296" y="1275374"/>
            <a:ext cx="1722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latin typeface="Corbel" panose="020B0503020204020204" pitchFamily="34" charset="0"/>
              </a:rPr>
              <a:t>User</a:t>
            </a:r>
          </a:p>
        </p:txBody>
      </p:sp>
      <p:sp>
        <p:nvSpPr>
          <p:cNvPr id="31" name="TextBox 46">
            <a:extLst>
              <a:ext uri="{FF2B5EF4-FFF2-40B4-BE49-F238E27FC236}">
                <a16:creationId xmlns:a16="http://schemas.microsoft.com/office/drawing/2014/main" id="{4867AD8D-C895-304E-8C04-51C91C1C0DC3}"/>
              </a:ext>
            </a:extLst>
          </p:cNvPr>
          <p:cNvSpPr txBox="1"/>
          <p:nvPr/>
        </p:nvSpPr>
        <p:spPr>
          <a:xfrm>
            <a:off x="2965863" y="1275374"/>
            <a:ext cx="23237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latin typeface="Corbel" panose="020B0503020204020204" pitchFamily="34" charset="0"/>
              </a:rPr>
              <a:t>SMART</a:t>
            </a:r>
            <a:r>
              <a:rPr lang="en-US" sz="2800" b="1">
                <a:solidFill>
                  <a:srgbClr val="C00000"/>
                </a:solidFill>
                <a:latin typeface="Corbel" panose="020B0503020204020204" pitchFamily="34" charset="0"/>
              </a:rPr>
              <a:t>CUBE</a:t>
            </a:r>
          </a:p>
        </p:txBody>
      </p:sp>
      <p:sp>
        <p:nvSpPr>
          <p:cNvPr id="32" name="TextBox 46">
            <a:extLst>
              <a:ext uri="{FF2B5EF4-FFF2-40B4-BE49-F238E27FC236}">
                <a16:creationId xmlns:a16="http://schemas.microsoft.com/office/drawing/2014/main" id="{287033DC-6F01-5544-977D-5F47D567E89B}"/>
              </a:ext>
            </a:extLst>
          </p:cNvPr>
          <p:cNvSpPr txBox="1"/>
          <p:nvPr/>
        </p:nvSpPr>
        <p:spPr>
          <a:xfrm>
            <a:off x="6241498" y="1280094"/>
            <a:ext cx="23237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latin typeface="Corbel" panose="020B0503020204020204" pitchFamily="34" charset="0"/>
              </a:rPr>
              <a:t>ML Algorithm</a:t>
            </a:r>
          </a:p>
        </p:txBody>
      </p:sp>
      <p:sp>
        <p:nvSpPr>
          <p:cNvPr id="33" name="TextBox 46">
            <a:extLst>
              <a:ext uri="{FF2B5EF4-FFF2-40B4-BE49-F238E27FC236}">
                <a16:creationId xmlns:a16="http://schemas.microsoft.com/office/drawing/2014/main" id="{581C8D3E-F5C4-0442-87EA-92DD1AE35E29}"/>
              </a:ext>
            </a:extLst>
          </p:cNvPr>
          <p:cNvSpPr txBox="1"/>
          <p:nvPr/>
        </p:nvSpPr>
        <p:spPr>
          <a:xfrm>
            <a:off x="9340441" y="1280094"/>
            <a:ext cx="21633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err="1">
                <a:latin typeface="Corbel" panose="020B0503020204020204" pitchFamily="34" charset="0"/>
              </a:rPr>
              <a:t>Recommen</a:t>
            </a:r>
            <a:r>
              <a:rPr lang="en-US" sz="2800" b="1">
                <a:latin typeface="Corbel" panose="020B0503020204020204" pitchFamily="34" charset="0"/>
              </a:rPr>
              <a:t>-dation</a:t>
            </a:r>
          </a:p>
        </p:txBody>
      </p:sp>
      <p:pic>
        <p:nvPicPr>
          <p:cNvPr id="25" name="Grafik 24" descr="Mann mit einfarbiger Füllung">
            <a:extLst>
              <a:ext uri="{FF2B5EF4-FFF2-40B4-BE49-F238E27FC236}">
                <a16:creationId xmlns:a16="http://schemas.microsoft.com/office/drawing/2014/main" id="{525EC6F7-5766-5746-8DEE-14B6C8DC11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4669" y="2812688"/>
            <a:ext cx="1619915" cy="1619915"/>
          </a:xfrm>
          <a:prstGeom prst="rect">
            <a:avLst/>
          </a:prstGeom>
        </p:spPr>
      </p:pic>
      <p:sp>
        <p:nvSpPr>
          <p:cNvPr id="26" name="Eingebuchteter Richtungspfeil 25">
            <a:extLst>
              <a:ext uri="{FF2B5EF4-FFF2-40B4-BE49-F238E27FC236}">
                <a16:creationId xmlns:a16="http://schemas.microsoft.com/office/drawing/2014/main" id="{94B9F661-1361-684E-8A86-98F84C769BB7}"/>
              </a:ext>
            </a:extLst>
          </p:cNvPr>
          <p:cNvSpPr/>
          <p:nvPr/>
        </p:nvSpPr>
        <p:spPr>
          <a:xfrm>
            <a:off x="2291787" y="3249902"/>
            <a:ext cx="282206" cy="749461"/>
          </a:xfrm>
          <a:prstGeom prst="chevron">
            <a:avLst/>
          </a:prstGeom>
          <a:solidFill>
            <a:srgbClr val="E600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EA4D63"/>
              </a:solidFill>
            </a:endParaRPr>
          </a:p>
        </p:txBody>
      </p:sp>
      <p:sp>
        <p:nvSpPr>
          <p:cNvPr id="37" name="Eingebuchteter Richtungspfeil 36">
            <a:extLst>
              <a:ext uri="{FF2B5EF4-FFF2-40B4-BE49-F238E27FC236}">
                <a16:creationId xmlns:a16="http://schemas.microsoft.com/office/drawing/2014/main" id="{41269B38-F84C-FA4D-A3F7-DA60EA6205FB}"/>
              </a:ext>
            </a:extLst>
          </p:cNvPr>
          <p:cNvSpPr/>
          <p:nvPr/>
        </p:nvSpPr>
        <p:spPr>
          <a:xfrm>
            <a:off x="5657050" y="3249902"/>
            <a:ext cx="282206" cy="749461"/>
          </a:xfrm>
          <a:prstGeom prst="chevron">
            <a:avLst/>
          </a:prstGeom>
          <a:solidFill>
            <a:srgbClr val="E600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EA4D63"/>
              </a:solidFill>
            </a:endParaRPr>
          </a:p>
        </p:txBody>
      </p:sp>
      <p:sp>
        <p:nvSpPr>
          <p:cNvPr id="38" name="Eingebuchteter Richtungspfeil 37">
            <a:extLst>
              <a:ext uri="{FF2B5EF4-FFF2-40B4-BE49-F238E27FC236}">
                <a16:creationId xmlns:a16="http://schemas.microsoft.com/office/drawing/2014/main" id="{8CFFB111-6588-A54B-9B5C-294E65B7449D}"/>
              </a:ext>
            </a:extLst>
          </p:cNvPr>
          <p:cNvSpPr/>
          <p:nvPr/>
        </p:nvSpPr>
        <p:spPr>
          <a:xfrm>
            <a:off x="8836242" y="3249902"/>
            <a:ext cx="282206" cy="749461"/>
          </a:xfrm>
          <a:prstGeom prst="chevron">
            <a:avLst/>
          </a:prstGeom>
          <a:solidFill>
            <a:srgbClr val="E600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EA4D63"/>
              </a:solidFill>
            </a:endParaRPr>
          </a:p>
        </p:txBody>
      </p:sp>
      <p:sp>
        <p:nvSpPr>
          <p:cNvPr id="39" name="TextBox 46">
            <a:extLst>
              <a:ext uri="{FF2B5EF4-FFF2-40B4-BE49-F238E27FC236}">
                <a16:creationId xmlns:a16="http://schemas.microsoft.com/office/drawing/2014/main" id="{481DDEDB-5AA7-F24E-A083-3AB5C3AFF99D}"/>
              </a:ext>
            </a:extLst>
          </p:cNvPr>
          <p:cNvSpPr txBox="1"/>
          <p:nvPr/>
        </p:nvSpPr>
        <p:spPr>
          <a:xfrm>
            <a:off x="338726" y="5111517"/>
            <a:ext cx="19718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Corbel" panose="020B0503020204020204" pitchFamily="34" charset="0"/>
              </a:rPr>
              <a:t>User chooses category by turning Cub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>
              <a:latin typeface="Corbel" panose="020B0503020204020204" pitchFamily="34" charset="0"/>
            </a:endParaRPr>
          </a:p>
        </p:txBody>
      </p:sp>
      <p:sp>
        <p:nvSpPr>
          <p:cNvPr id="40" name="TextBox 46">
            <a:extLst>
              <a:ext uri="{FF2B5EF4-FFF2-40B4-BE49-F238E27FC236}">
                <a16:creationId xmlns:a16="http://schemas.microsoft.com/office/drawing/2014/main" id="{1BF0D5C7-EB14-E34A-B2B2-3D4A4170B994}"/>
              </a:ext>
            </a:extLst>
          </p:cNvPr>
          <p:cNvSpPr txBox="1"/>
          <p:nvPr/>
        </p:nvSpPr>
        <p:spPr>
          <a:xfrm>
            <a:off x="2714655" y="5111517"/>
            <a:ext cx="26271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Corbel" panose="020B0503020204020204" pitchFamily="34" charset="0"/>
              </a:rPr>
              <a:t>Cube identifies which category was selected and sends signal to recommendation engi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>
              <a:latin typeface="Corbel" panose="020B0503020204020204" pitchFamily="34" charset="0"/>
            </a:endParaRPr>
          </a:p>
        </p:txBody>
      </p:sp>
      <p:sp>
        <p:nvSpPr>
          <p:cNvPr id="41" name="TextBox 46">
            <a:extLst>
              <a:ext uri="{FF2B5EF4-FFF2-40B4-BE49-F238E27FC236}">
                <a16:creationId xmlns:a16="http://schemas.microsoft.com/office/drawing/2014/main" id="{BC19F805-1D73-D843-9FCB-26F9AEAE4ABA}"/>
              </a:ext>
            </a:extLst>
          </p:cNvPr>
          <p:cNvSpPr txBox="1"/>
          <p:nvPr/>
        </p:nvSpPr>
        <p:spPr>
          <a:xfrm>
            <a:off x="6071882" y="5111517"/>
            <a:ext cx="268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Corbel" panose="020B0503020204020204" pitchFamily="34" charset="0"/>
              </a:rPr>
              <a:t>ML algorithm takes User data (e.g. favorite sports club) and similar users into account</a:t>
            </a:r>
          </a:p>
        </p:txBody>
      </p:sp>
      <p:sp>
        <p:nvSpPr>
          <p:cNvPr id="42" name="TextBox 46">
            <a:extLst>
              <a:ext uri="{FF2B5EF4-FFF2-40B4-BE49-F238E27FC236}">
                <a16:creationId xmlns:a16="http://schemas.microsoft.com/office/drawing/2014/main" id="{7335BBF0-AB46-9B4A-9D13-ABCA9EF991BE}"/>
              </a:ext>
            </a:extLst>
          </p:cNvPr>
          <p:cNvSpPr txBox="1"/>
          <p:nvPr/>
        </p:nvSpPr>
        <p:spPr>
          <a:xfrm>
            <a:off x="9108549" y="5111517"/>
            <a:ext cx="26271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Corbel" panose="020B0503020204020204" pitchFamily="34" charset="0"/>
              </a:rPr>
              <a:t>Algorithm generates priority list of recommendations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0B3364D-2635-454D-903E-53753F381CC2}"/>
              </a:ext>
            </a:extLst>
          </p:cNvPr>
          <p:cNvSpPr/>
          <p:nvPr/>
        </p:nvSpPr>
        <p:spPr>
          <a:xfrm>
            <a:off x="6339343" y="2129779"/>
            <a:ext cx="2147785" cy="272395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D990CA3-311C-3B42-9FA7-61C32F08A88A}"/>
              </a:ext>
            </a:extLst>
          </p:cNvPr>
          <p:cNvSpPr/>
          <p:nvPr/>
        </p:nvSpPr>
        <p:spPr>
          <a:xfrm>
            <a:off x="6339343" y="2125930"/>
            <a:ext cx="2147785" cy="4076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>
                <a:solidFill>
                  <a:schemeClr val="tx1"/>
                </a:solidFill>
              </a:rPr>
              <a:t>Sport </a:t>
            </a:r>
            <a:r>
              <a:rPr lang="de-DE" b="1" err="1">
                <a:solidFill>
                  <a:schemeClr val="tx1"/>
                </a:solidFill>
              </a:rPr>
              <a:t>Category</a:t>
            </a:r>
            <a:endParaRPr lang="de-DE" b="1">
              <a:solidFill>
                <a:schemeClr val="tx1"/>
              </a:solidFill>
            </a:endParaRPr>
          </a:p>
        </p:txBody>
      </p:sp>
      <p:sp>
        <p:nvSpPr>
          <p:cNvPr id="48" name="TextBox 46">
            <a:extLst>
              <a:ext uri="{FF2B5EF4-FFF2-40B4-BE49-F238E27FC236}">
                <a16:creationId xmlns:a16="http://schemas.microsoft.com/office/drawing/2014/main" id="{35924B0F-3663-B54E-B3EA-6B1B7C483CE0}"/>
              </a:ext>
            </a:extLst>
          </p:cNvPr>
          <p:cNvSpPr txBox="1"/>
          <p:nvPr/>
        </p:nvSpPr>
        <p:spPr>
          <a:xfrm>
            <a:off x="6549235" y="2596596"/>
            <a:ext cx="1728000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latin typeface="Corbel" panose="020B0503020204020204" pitchFamily="34" charset="0"/>
              </a:rPr>
              <a:t>User data</a:t>
            </a:r>
          </a:p>
        </p:txBody>
      </p:sp>
      <p:sp>
        <p:nvSpPr>
          <p:cNvPr id="49" name="TextBox 46">
            <a:extLst>
              <a:ext uri="{FF2B5EF4-FFF2-40B4-BE49-F238E27FC236}">
                <a16:creationId xmlns:a16="http://schemas.microsoft.com/office/drawing/2014/main" id="{D4419544-9D62-E342-B95B-9E12ADE9AC01}"/>
              </a:ext>
            </a:extLst>
          </p:cNvPr>
          <p:cNvSpPr txBox="1"/>
          <p:nvPr/>
        </p:nvSpPr>
        <p:spPr>
          <a:xfrm>
            <a:off x="6549235" y="4379975"/>
            <a:ext cx="1728000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latin typeface="Corbel" panose="020B0503020204020204" pitchFamily="34" charset="0"/>
              </a:rPr>
              <a:t>Similar Users</a:t>
            </a:r>
          </a:p>
        </p:txBody>
      </p:sp>
      <p:sp>
        <p:nvSpPr>
          <p:cNvPr id="51" name="Eingebuchteter Richtungspfeil 50">
            <a:extLst>
              <a:ext uri="{FF2B5EF4-FFF2-40B4-BE49-F238E27FC236}">
                <a16:creationId xmlns:a16="http://schemas.microsoft.com/office/drawing/2014/main" id="{7CF15ACE-1658-E24C-93A0-E13ADAA33B77}"/>
              </a:ext>
            </a:extLst>
          </p:cNvPr>
          <p:cNvSpPr/>
          <p:nvPr/>
        </p:nvSpPr>
        <p:spPr>
          <a:xfrm rot="5400000">
            <a:off x="7307279" y="2850807"/>
            <a:ext cx="211911" cy="465356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EA4D63"/>
              </a:solidFill>
            </a:endParaRPr>
          </a:p>
        </p:txBody>
      </p:sp>
      <p:sp>
        <p:nvSpPr>
          <p:cNvPr id="52" name="Eingebuchteter Richtungspfeil 51">
            <a:extLst>
              <a:ext uri="{FF2B5EF4-FFF2-40B4-BE49-F238E27FC236}">
                <a16:creationId xmlns:a16="http://schemas.microsoft.com/office/drawing/2014/main" id="{26BD93C8-F7EF-BB4E-9727-F30A120C2392}"/>
              </a:ext>
            </a:extLst>
          </p:cNvPr>
          <p:cNvSpPr/>
          <p:nvPr/>
        </p:nvSpPr>
        <p:spPr>
          <a:xfrm rot="16200000">
            <a:off x="7307279" y="3960606"/>
            <a:ext cx="211911" cy="465356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EA4D63"/>
              </a:solidFill>
            </a:endParaRP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6803FB4E-E54C-DF40-ABD9-060EE9700318}"/>
              </a:ext>
            </a:extLst>
          </p:cNvPr>
          <p:cNvGrpSpPr/>
          <p:nvPr/>
        </p:nvGrpSpPr>
        <p:grpSpPr>
          <a:xfrm>
            <a:off x="9340386" y="2772925"/>
            <a:ext cx="2163462" cy="1696160"/>
            <a:chOff x="9328341" y="2658621"/>
            <a:chExt cx="2163462" cy="1696160"/>
          </a:xfrm>
        </p:grpSpPr>
        <p:sp>
          <p:nvSpPr>
            <p:cNvPr id="54" name="TextBox 46">
              <a:extLst>
                <a:ext uri="{FF2B5EF4-FFF2-40B4-BE49-F238E27FC236}">
                  <a16:creationId xmlns:a16="http://schemas.microsoft.com/office/drawing/2014/main" id="{402F2737-E9AE-BC46-90B4-4BD63E0EC99D}"/>
                </a:ext>
              </a:extLst>
            </p:cNvPr>
            <p:cNvSpPr txBox="1"/>
            <p:nvPr/>
          </p:nvSpPr>
          <p:spPr>
            <a:xfrm>
              <a:off x="9344018" y="2658621"/>
              <a:ext cx="2147785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>
                  <a:latin typeface="Corbel" panose="020B0503020204020204" pitchFamily="34" charset="0"/>
                </a:rPr>
                <a:t>1. Recommendation</a:t>
              </a:r>
            </a:p>
          </p:txBody>
        </p:sp>
        <p:sp>
          <p:nvSpPr>
            <p:cNvPr id="55" name="TextBox 46">
              <a:extLst>
                <a:ext uri="{FF2B5EF4-FFF2-40B4-BE49-F238E27FC236}">
                  <a16:creationId xmlns:a16="http://schemas.microsoft.com/office/drawing/2014/main" id="{733ADD28-05AA-8746-A22D-C3246BD70536}"/>
                </a:ext>
              </a:extLst>
            </p:cNvPr>
            <p:cNvSpPr txBox="1"/>
            <p:nvPr/>
          </p:nvSpPr>
          <p:spPr>
            <a:xfrm>
              <a:off x="9344018" y="3111156"/>
              <a:ext cx="2147785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>
                  <a:latin typeface="Corbel" panose="020B0503020204020204" pitchFamily="34" charset="0"/>
                </a:rPr>
                <a:t>2. Recommendation</a:t>
              </a:r>
            </a:p>
          </p:txBody>
        </p:sp>
        <p:sp>
          <p:nvSpPr>
            <p:cNvPr id="56" name="TextBox 46">
              <a:extLst>
                <a:ext uri="{FF2B5EF4-FFF2-40B4-BE49-F238E27FC236}">
                  <a16:creationId xmlns:a16="http://schemas.microsoft.com/office/drawing/2014/main" id="{9BFCFA64-AFB3-F344-81FC-63C941F8901B}"/>
                </a:ext>
              </a:extLst>
            </p:cNvPr>
            <p:cNvSpPr txBox="1"/>
            <p:nvPr/>
          </p:nvSpPr>
          <p:spPr>
            <a:xfrm>
              <a:off x="9344018" y="3563691"/>
              <a:ext cx="2147785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>
                  <a:latin typeface="Corbel" panose="020B0503020204020204" pitchFamily="34" charset="0"/>
                </a:rPr>
                <a:t>3. Recommendation</a:t>
              </a:r>
            </a:p>
          </p:txBody>
        </p:sp>
        <p:sp>
          <p:nvSpPr>
            <p:cNvPr id="57" name="TextBox 46">
              <a:extLst>
                <a:ext uri="{FF2B5EF4-FFF2-40B4-BE49-F238E27FC236}">
                  <a16:creationId xmlns:a16="http://schemas.microsoft.com/office/drawing/2014/main" id="{A0ECDB83-175E-DB48-8959-4518B78F886A}"/>
                </a:ext>
              </a:extLst>
            </p:cNvPr>
            <p:cNvSpPr txBox="1"/>
            <p:nvPr/>
          </p:nvSpPr>
          <p:spPr>
            <a:xfrm>
              <a:off x="9328341" y="4016227"/>
              <a:ext cx="2147785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>
                  <a:latin typeface="Corbel" panose="020B0503020204020204" pitchFamily="34" charset="0"/>
                </a:rPr>
                <a:t>…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A80F49B5-CBDA-894D-92FB-CCA2C21276CA}"/>
              </a:ext>
            </a:extLst>
          </p:cNvPr>
          <p:cNvGrpSpPr/>
          <p:nvPr/>
        </p:nvGrpSpPr>
        <p:grpSpPr>
          <a:xfrm>
            <a:off x="2573993" y="2129779"/>
            <a:ext cx="2908460" cy="2908460"/>
            <a:chOff x="2573993" y="2129779"/>
            <a:chExt cx="2908460" cy="2908460"/>
          </a:xfrm>
        </p:grpSpPr>
        <p:pic>
          <p:nvPicPr>
            <p:cNvPr id="28678" name="Picture 6" descr="Cube">
              <a:extLst>
                <a:ext uri="{FF2B5EF4-FFF2-40B4-BE49-F238E27FC236}">
                  <a16:creationId xmlns:a16="http://schemas.microsoft.com/office/drawing/2014/main" id="{9FFA16C7-4133-7740-8DDB-14088E0A01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3993" y="2129779"/>
              <a:ext cx="2908460" cy="2908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D4533247-54B5-5C44-9B98-56BDD2129D38}"/>
                </a:ext>
              </a:extLst>
            </p:cNvPr>
            <p:cNvSpPr/>
            <p:nvPr/>
          </p:nvSpPr>
          <p:spPr>
            <a:xfrm rot="20201666">
              <a:off x="4241950" y="3553352"/>
              <a:ext cx="526238" cy="454425"/>
            </a:xfrm>
            <a:prstGeom prst="rect">
              <a:avLst/>
            </a:prstGeom>
            <a:gradFill flip="none" rotWithShape="1">
              <a:gsLst>
                <a:gs pos="0">
                  <a:srgbClr val="F0F0F0"/>
                </a:gs>
                <a:gs pos="50000">
                  <a:srgbClr val="F3F3F3"/>
                </a:gs>
                <a:gs pos="100000">
                  <a:srgbClr val="F1F2F2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730FD2B-0A9C-5B47-894F-F489F2EAECF0}"/>
                </a:ext>
              </a:extLst>
            </p:cNvPr>
            <p:cNvSpPr/>
            <p:nvPr/>
          </p:nvSpPr>
          <p:spPr>
            <a:xfrm rot="256536">
              <a:off x="3667668" y="2845841"/>
              <a:ext cx="765737" cy="369332"/>
            </a:xfrm>
            <a:prstGeom prst="rect">
              <a:avLst/>
            </a:prstGeom>
            <a:scene3d>
              <a:camera prst="isometricTopUp">
                <a:rot lat="19200000" lon="18883146" rev="3609745"/>
              </a:camera>
              <a:lightRig rig="threePt" dir="t">
                <a:rot lat="0" lon="0" rev="5400000"/>
              </a:lightRig>
            </a:scene3d>
            <a:sp3d/>
          </p:spPr>
          <p:txBody>
            <a:bodyPr wrap="square">
              <a:spAutoFit/>
            </a:bodyPr>
            <a:lstStyle/>
            <a:p>
              <a:pPr algn="ctr"/>
              <a:r>
                <a:rPr lang="de-DE">
                  <a:solidFill>
                    <a:srgbClr val="C00000"/>
                  </a:solidFill>
                </a:rPr>
                <a:t>Sport</a:t>
              </a:r>
              <a:endParaRPr lang="de-DE" sz="1400">
                <a:solidFill>
                  <a:srgbClr val="C00000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F0CD9B47-21EC-2E43-9638-6D170181A01E}"/>
                </a:ext>
              </a:extLst>
            </p:cNvPr>
            <p:cNvSpPr/>
            <p:nvPr/>
          </p:nvSpPr>
          <p:spPr>
            <a:xfrm rot="21243776">
              <a:off x="3014088" y="3547819"/>
              <a:ext cx="1246415" cy="369332"/>
            </a:xfrm>
            <a:prstGeom prst="rect">
              <a:avLst/>
            </a:prstGeom>
            <a:scene3d>
              <a:camera prst="isometricOffAxis1Left">
                <a:rot lat="1500000" lon="3600000" rev="0"/>
              </a:camera>
              <a:lightRig rig="threePt" dir="t"/>
            </a:scene3d>
          </p:spPr>
          <p:txBody>
            <a:bodyPr wrap="square" lIns="91440" tIns="45720" rIns="91440" bIns="45720" anchor="t">
              <a:spAutoFit/>
              <a:scene3d>
                <a:camera prst="orthographicFront">
                  <a:rot lat="20099999" lon="20699988" rev="0"/>
                </a:camera>
                <a:lightRig rig="threePt" dir="t"/>
              </a:scene3d>
            </a:bodyPr>
            <a:lstStyle/>
            <a:p>
              <a:pPr algn="ctr"/>
              <a:r>
                <a:rPr lang="de-DE" err="1">
                  <a:solidFill>
                    <a:srgbClr val="C00000"/>
                  </a:solidFill>
                </a:rPr>
                <a:t>Sharknado</a:t>
              </a:r>
              <a:endParaRPr lang="de-DE" sz="140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AEF30F7-CEE7-B148-B1A4-B224938ECAE9}"/>
                </a:ext>
              </a:extLst>
            </p:cNvPr>
            <p:cNvSpPr/>
            <p:nvPr/>
          </p:nvSpPr>
          <p:spPr>
            <a:xfrm rot="20477013">
              <a:off x="4022028" y="3611288"/>
              <a:ext cx="940977" cy="338554"/>
            </a:xfrm>
            <a:prstGeom prst="rect">
              <a:avLst/>
            </a:prstGeom>
            <a:scene3d>
              <a:camera prst="isometricOffAxis1Right">
                <a:rot lat="1200000" lon="20039998" rev="0"/>
              </a:camera>
              <a:lightRig rig="threePt" dir="t"/>
            </a:scene3d>
          </p:spPr>
          <p:txBody>
            <a:bodyPr wrap="square">
              <a:spAutoFit/>
            </a:bodyPr>
            <a:lstStyle/>
            <a:p>
              <a:pPr algn="ctr"/>
              <a:r>
                <a:rPr lang="de-DE" sz="1600">
                  <a:solidFill>
                    <a:srgbClr val="C00000"/>
                  </a:solidFill>
                </a:rPr>
                <a:t>Action</a:t>
              </a: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1DB0E60C-6D08-A240-84AC-2F56C5A6C0BA}"/>
              </a:ext>
            </a:extLst>
          </p:cNvPr>
          <p:cNvSpPr/>
          <p:nvPr/>
        </p:nvSpPr>
        <p:spPr>
          <a:xfrm>
            <a:off x="6549235" y="3231820"/>
            <a:ext cx="1728000" cy="784729"/>
          </a:xfrm>
          <a:prstGeom prst="rect">
            <a:avLst/>
          </a:prstGeom>
          <a:solidFill>
            <a:srgbClr val="EDEDED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7C8645E-C8F6-3649-B8CB-33010C1F74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9235" y="3260884"/>
            <a:ext cx="1728000" cy="434361"/>
          </a:xfrm>
          <a:prstGeom prst="rect">
            <a:avLst/>
          </a:prstGeom>
        </p:spPr>
      </p:pic>
      <p:sp>
        <p:nvSpPr>
          <p:cNvPr id="43" name="TextBox 46">
            <a:extLst>
              <a:ext uri="{FF2B5EF4-FFF2-40B4-BE49-F238E27FC236}">
                <a16:creationId xmlns:a16="http://schemas.microsoft.com/office/drawing/2014/main" id="{590F8745-8D45-D74E-A08D-39BDFFC5D4A3}"/>
              </a:ext>
            </a:extLst>
          </p:cNvPr>
          <p:cNvSpPr txBox="1"/>
          <p:nvPr/>
        </p:nvSpPr>
        <p:spPr>
          <a:xfrm>
            <a:off x="6627781" y="3636709"/>
            <a:ext cx="1570909" cy="369332"/>
          </a:xfrm>
          <a:prstGeom prst="rect">
            <a:avLst/>
          </a:prstGeom>
          <a:solidFill>
            <a:srgbClr val="ECEDED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Corbel" panose="020B0503020204020204" pitchFamily="34" charset="0"/>
              </a:rPr>
              <a:t>Algorithm</a:t>
            </a:r>
          </a:p>
        </p:txBody>
      </p:sp>
    </p:spTree>
    <p:extLst>
      <p:ext uri="{BB962C8B-B14F-4D97-AF65-F5344CB8AC3E}">
        <p14:creationId xmlns:p14="http://schemas.microsoft.com/office/powerpoint/2010/main" val="700052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EAB6-127A-254D-B707-3629D15F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600" b="1">
                <a:solidFill>
                  <a:srgbClr val="E30D3C"/>
                </a:solidFill>
                <a:latin typeface="Corbel"/>
                <a:ea typeface="Yu Gothic"/>
              </a:rPr>
              <a:t>Market Validation</a:t>
            </a:r>
            <a:endParaRPr lang="en-DE" sz="3600" b="1">
              <a:solidFill>
                <a:srgbClr val="E30D3C"/>
              </a:solidFill>
            </a:endParaRPr>
          </a:p>
        </p:txBody>
      </p:sp>
      <p:sp>
        <p:nvSpPr>
          <p:cNvPr id="5" name="TextBox 46">
            <a:extLst>
              <a:ext uri="{FF2B5EF4-FFF2-40B4-BE49-F238E27FC236}">
                <a16:creationId xmlns:a16="http://schemas.microsoft.com/office/drawing/2014/main" id="{A3D87D1E-FED8-6443-8F58-D8CB58B5E3CB}"/>
              </a:ext>
            </a:extLst>
          </p:cNvPr>
          <p:cNvSpPr txBox="1"/>
          <p:nvPr/>
        </p:nvSpPr>
        <p:spPr>
          <a:xfrm>
            <a:off x="463296" y="2091297"/>
            <a:ext cx="3217453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>
                <a:solidFill>
                  <a:srgbClr val="E30D3C"/>
                </a:solidFill>
                <a:latin typeface="Corbel" panose="020B0503020204020204" pitchFamily="34" charset="0"/>
              </a:rPr>
              <a:t>64% </a:t>
            </a:r>
          </a:p>
          <a:p>
            <a:pPr algn="ctr"/>
            <a:r>
              <a:rPr lang="en-US" sz="2800">
                <a:latin typeface="Corbel" panose="020B0503020204020204" pitchFamily="34" charset="0"/>
              </a:rPr>
              <a:t>of people use personalized TV recommendation engines</a:t>
            </a:r>
            <a:endParaRPr lang="en-US" sz="3200">
              <a:latin typeface="Corbel" panose="020B0503020204020204" pitchFamily="34" charset="0"/>
            </a:endParaRPr>
          </a:p>
        </p:txBody>
      </p:sp>
      <p:sp>
        <p:nvSpPr>
          <p:cNvPr id="6" name="TextBox 46">
            <a:extLst>
              <a:ext uri="{FF2B5EF4-FFF2-40B4-BE49-F238E27FC236}">
                <a16:creationId xmlns:a16="http://schemas.microsoft.com/office/drawing/2014/main" id="{759488CF-7739-A14B-82A9-47F6A3254A4A}"/>
              </a:ext>
            </a:extLst>
          </p:cNvPr>
          <p:cNvSpPr txBox="1"/>
          <p:nvPr/>
        </p:nvSpPr>
        <p:spPr>
          <a:xfrm>
            <a:off x="4353122" y="2091297"/>
            <a:ext cx="3217453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>
                <a:solidFill>
                  <a:srgbClr val="E30D3C"/>
                </a:solidFill>
                <a:latin typeface="Corbel" panose="020B0503020204020204" pitchFamily="34" charset="0"/>
              </a:rPr>
              <a:t>79% </a:t>
            </a:r>
          </a:p>
          <a:p>
            <a:pPr algn="ctr"/>
            <a:r>
              <a:rPr lang="en-US" sz="2800">
                <a:latin typeface="Corbel" panose="020B0503020204020204" pitchFamily="34" charset="0"/>
              </a:rPr>
              <a:t>of them are unsatisfied with their TV recom-mendations</a:t>
            </a:r>
            <a:r>
              <a:rPr lang="en-US" sz="2800" baseline="30000">
                <a:latin typeface="Corbel" panose="020B0503020204020204" pitchFamily="34" charset="0"/>
              </a:rPr>
              <a:t>1</a:t>
            </a:r>
            <a:r>
              <a:rPr lang="en-US" sz="2800">
                <a:latin typeface="Corbel" panose="020B0503020204020204" pitchFamily="34" charset="0"/>
              </a:rPr>
              <a:t> </a:t>
            </a:r>
          </a:p>
        </p:txBody>
      </p:sp>
      <p:sp>
        <p:nvSpPr>
          <p:cNvPr id="7" name="TextBox 46">
            <a:extLst>
              <a:ext uri="{FF2B5EF4-FFF2-40B4-BE49-F238E27FC236}">
                <a16:creationId xmlns:a16="http://schemas.microsoft.com/office/drawing/2014/main" id="{EB830716-290E-D040-B6E4-D51456192BCA}"/>
              </a:ext>
            </a:extLst>
          </p:cNvPr>
          <p:cNvSpPr txBox="1"/>
          <p:nvPr/>
        </p:nvSpPr>
        <p:spPr>
          <a:xfrm>
            <a:off x="8242949" y="2091297"/>
            <a:ext cx="3217453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>
                <a:solidFill>
                  <a:srgbClr val="E30D3C"/>
                </a:solidFill>
                <a:latin typeface="Corbel" panose="020B0503020204020204" pitchFamily="34" charset="0"/>
              </a:rPr>
              <a:t>67% </a:t>
            </a:r>
          </a:p>
          <a:p>
            <a:pPr algn="ctr"/>
            <a:r>
              <a:rPr lang="en-US" sz="2800">
                <a:latin typeface="Corbel" panose="020B0503020204020204" pitchFamily="34" charset="0"/>
              </a:rPr>
              <a:t>would use a mood depicting device to improve the recommendations </a:t>
            </a:r>
          </a:p>
        </p:txBody>
      </p:sp>
      <p:sp>
        <p:nvSpPr>
          <p:cNvPr id="8" name="TextBox 46">
            <a:extLst>
              <a:ext uri="{FF2B5EF4-FFF2-40B4-BE49-F238E27FC236}">
                <a16:creationId xmlns:a16="http://schemas.microsoft.com/office/drawing/2014/main" id="{6D297384-9BE5-C347-A001-9FD5D995E1B5}"/>
              </a:ext>
            </a:extLst>
          </p:cNvPr>
          <p:cNvSpPr txBox="1"/>
          <p:nvPr/>
        </p:nvSpPr>
        <p:spPr>
          <a:xfrm>
            <a:off x="463296" y="5939340"/>
            <a:ext cx="5472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latin typeface="Corbel" panose="020B0503020204020204" pitchFamily="34" charset="0"/>
              </a:rPr>
              <a:t>Note: Data based on survey conducted at Start Summit (n=33)</a:t>
            </a:r>
          </a:p>
        </p:txBody>
      </p:sp>
      <p:sp>
        <p:nvSpPr>
          <p:cNvPr id="9" name="TextBox 46">
            <a:extLst>
              <a:ext uri="{FF2B5EF4-FFF2-40B4-BE49-F238E27FC236}">
                <a16:creationId xmlns:a16="http://schemas.microsoft.com/office/drawing/2014/main" id="{C4D2D8DA-2692-1942-A98C-1AAE33AB46DD}"/>
              </a:ext>
            </a:extLst>
          </p:cNvPr>
          <p:cNvSpPr txBox="1"/>
          <p:nvPr/>
        </p:nvSpPr>
        <p:spPr>
          <a:xfrm>
            <a:off x="463296" y="6214881"/>
            <a:ext cx="5472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latin typeface="Corbel" panose="020B0503020204020204" pitchFamily="34" charset="0"/>
              </a:rPr>
              <a:t>1: Rated the recommendations with 3 or less out of 5</a:t>
            </a:r>
          </a:p>
        </p:txBody>
      </p:sp>
    </p:spTree>
    <p:extLst>
      <p:ext uri="{BB962C8B-B14F-4D97-AF65-F5344CB8AC3E}">
        <p14:creationId xmlns:p14="http://schemas.microsoft.com/office/powerpoint/2010/main" val="3559843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EAB6-127A-254D-B707-3629D15F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600" b="1">
                <a:solidFill>
                  <a:srgbClr val="E30D3C"/>
                </a:solidFill>
                <a:latin typeface="Corbel"/>
                <a:ea typeface="Yu Gothic"/>
              </a:rPr>
              <a:t>Outlook potential</a:t>
            </a:r>
            <a:endParaRPr lang="en-DE" sz="3600" b="1">
              <a:solidFill>
                <a:srgbClr val="E30D3C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D51A046-F98E-44A7-ADD1-AEB3FFD4BD60}"/>
              </a:ext>
            </a:extLst>
          </p:cNvPr>
          <p:cNvSpPr txBox="1"/>
          <p:nvPr/>
        </p:nvSpPr>
        <p:spPr>
          <a:xfrm>
            <a:off x="463296" y="1309727"/>
            <a:ext cx="11342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Corbel" panose="020B0503020204020204" pitchFamily="34" charset="0"/>
              </a:rPr>
              <a:t>A soon as the customer is locked in, the potential of the </a:t>
            </a:r>
            <a:r>
              <a:rPr lang="en-US" sz="2400" b="1">
                <a:latin typeface="Corbel" panose="020B0503020204020204" pitchFamily="34" charset="0"/>
              </a:rPr>
              <a:t>SMART</a:t>
            </a:r>
            <a:r>
              <a:rPr lang="en-US" sz="2400" b="1">
                <a:solidFill>
                  <a:srgbClr val="C00000"/>
                </a:solidFill>
                <a:latin typeface="Corbel" panose="020B0503020204020204" pitchFamily="34" charset="0"/>
              </a:rPr>
              <a:t>CUBE</a:t>
            </a:r>
            <a:r>
              <a:rPr lang="en-US" sz="2400">
                <a:solidFill>
                  <a:srgbClr val="C00000"/>
                </a:solidFill>
                <a:latin typeface="Corbel" panose="020B0503020204020204" pitchFamily="34" charset="0"/>
              </a:rPr>
              <a:t> </a:t>
            </a:r>
            <a:r>
              <a:rPr lang="en-US" sz="2400">
                <a:latin typeface="Corbel" panose="020B0503020204020204" pitchFamily="34" charset="0"/>
              </a:rPr>
              <a:t>is limitless: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268002A1-3E28-6E46-83E3-24BE90E756D7}"/>
              </a:ext>
            </a:extLst>
          </p:cNvPr>
          <p:cNvCxnSpPr>
            <a:cxnSpLocks/>
          </p:cNvCxnSpPr>
          <p:nvPr/>
        </p:nvCxnSpPr>
        <p:spPr>
          <a:xfrm>
            <a:off x="463296" y="2720051"/>
            <a:ext cx="3406406" cy="0"/>
          </a:xfrm>
          <a:prstGeom prst="line">
            <a:avLst/>
          </a:prstGeom>
          <a:ln w="12700">
            <a:solidFill>
              <a:srgbClr val="E30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46">
            <a:extLst>
              <a:ext uri="{FF2B5EF4-FFF2-40B4-BE49-F238E27FC236}">
                <a16:creationId xmlns:a16="http://schemas.microsoft.com/office/drawing/2014/main" id="{3EFCFE82-D349-DF43-B1DF-9D0891FC33A5}"/>
              </a:ext>
            </a:extLst>
          </p:cNvPr>
          <p:cNvSpPr txBox="1"/>
          <p:nvPr/>
        </p:nvSpPr>
        <p:spPr>
          <a:xfrm>
            <a:off x="418463" y="2258386"/>
            <a:ext cx="33928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Corbel" panose="020B0503020204020204" pitchFamily="34" charset="0"/>
              </a:rPr>
              <a:t>From TV recommendations...</a:t>
            </a:r>
          </a:p>
        </p:txBody>
      </p:sp>
      <p:sp>
        <p:nvSpPr>
          <p:cNvPr id="9" name="TextBox 46">
            <a:extLst>
              <a:ext uri="{FF2B5EF4-FFF2-40B4-BE49-F238E27FC236}">
                <a16:creationId xmlns:a16="http://schemas.microsoft.com/office/drawing/2014/main" id="{FF140995-D594-6D47-9FF9-941B39C61C57}"/>
              </a:ext>
            </a:extLst>
          </p:cNvPr>
          <p:cNvSpPr txBox="1"/>
          <p:nvPr/>
        </p:nvSpPr>
        <p:spPr>
          <a:xfrm>
            <a:off x="8535094" y="2258385"/>
            <a:ext cx="3010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>
                <a:latin typeface="Corbel" panose="020B0503020204020204" pitchFamily="34" charset="0"/>
              </a:rPr>
              <a:t>.. to a smart home device</a:t>
            </a:r>
          </a:p>
        </p:txBody>
      </p:sp>
      <p:sp>
        <p:nvSpPr>
          <p:cNvPr id="11" name="TextBox 46">
            <a:extLst>
              <a:ext uri="{FF2B5EF4-FFF2-40B4-BE49-F238E27FC236}">
                <a16:creationId xmlns:a16="http://schemas.microsoft.com/office/drawing/2014/main" id="{C1CE402B-539A-BA4D-8427-27A9AB55B605}"/>
              </a:ext>
            </a:extLst>
          </p:cNvPr>
          <p:cNvSpPr txBox="1"/>
          <p:nvPr/>
        </p:nvSpPr>
        <p:spPr>
          <a:xfrm>
            <a:off x="4285720" y="2258385"/>
            <a:ext cx="32738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Corbel" panose="020B0503020204020204" pitchFamily="34" charset="0"/>
              </a:rPr>
              <a:t>... over social interaction …</a:t>
            </a: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15194B54-F6C8-F043-A5B1-046311AAB267}"/>
              </a:ext>
            </a:extLst>
          </p:cNvPr>
          <p:cNvCxnSpPr>
            <a:cxnSpLocks/>
          </p:cNvCxnSpPr>
          <p:nvPr/>
        </p:nvCxnSpPr>
        <p:spPr>
          <a:xfrm>
            <a:off x="4248651" y="2720051"/>
            <a:ext cx="3348000" cy="0"/>
          </a:xfrm>
          <a:prstGeom prst="line">
            <a:avLst/>
          </a:prstGeom>
          <a:ln w="12700">
            <a:solidFill>
              <a:srgbClr val="E30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EA8DB3B0-0A0C-6241-9B0C-55427D4138CC}"/>
              </a:ext>
            </a:extLst>
          </p:cNvPr>
          <p:cNvCxnSpPr>
            <a:cxnSpLocks/>
          </p:cNvCxnSpPr>
          <p:nvPr/>
        </p:nvCxnSpPr>
        <p:spPr>
          <a:xfrm>
            <a:off x="8052854" y="2720051"/>
            <a:ext cx="3501546" cy="0"/>
          </a:xfrm>
          <a:prstGeom prst="line">
            <a:avLst/>
          </a:prstGeom>
          <a:ln w="12700">
            <a:solidFill>
              <a:srgbClr val="E30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4" name="Picture 2" descr="Get personalized TV show recommendations with this free streaming app -  Komando.com">
            <a:extLst>
              <a:ext uri="{FF2B5EF4-FFF2-40B4-BE49-F238E27FC236}">
                <a16:creationId xmlns:a16="http://schemas.microsoft.com/office/drawing/2014/main" id="{880821A9-FCD4-6541-9DB5-5647E9CDFD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68" r="10743"/>
          <a:stretch/>
        </p:blipFill>
        <p:spPr bwMode="auto">
          <a:xfrm>
            <a:off x="463296" y="2986272"/>
            <a:ext cx="3406406" cy="256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2" name="Picture 10" descr="How Does Smart Home Automation Work? - Henderson Electric">
            <a:extLst>
              <a:ext uri="{FF2B5EF4-FFF2-40B4-BE49-F238E27FC236}">
                <a16:creationId xmlns:a16="http://schemas.microsoft.com/office/drawing/2014/main" id="{8DADBF1B-DD81-0243-8A8A-44ED2C821B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00" r="8755"/>
          <a:stretch/>
        </p:blipFill>
        <p:spPr bwMode="auto">
          <a:xfrm>
            <a:off x="8044416" y="2915502"/>
            <a:ext cx="3509984" cy="2632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4" name="Picture 12" descr="Premium Photo | Group of young people watching tv. emotional friends having  fun and watching game indoors.">
            <a:extLst>
              <a:ext uri="{FF2B5EF4-FFF2-40B4-BE49-F238E27FC236}">
                <a16:creationId xmlns:a16="http://schemas.microsoft.com/office/drawing/2014/main" id="{3106DD03-7D1D-8B45-816D-05D146A582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0" r="10373"/>
          <a:stretch/>
        </p:blipFill>
        <p:spPr bwMode="auto">
          <a:xfrm>
            <a:off x="4243141" y="2986271"/>
            <a:ext cx="3406406" cy="258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6" name="Picture 14" descr="Aqara Cube - Fernbedienungsschalter (HomeKit) — digitrends.ch">
            <a:extLst>
              <a:ext uri="{FF2B5EF4-FFF2-40B4-BE49-F238E27FC236}">
                <a16:creationId xmlns:a16="http://schemas.microsoft.com/office/drawing/2014/main" id="{1734AD25-5F35-AE48-A238-1A26EEF4F2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443" y="4408271"/>
            <a:ext cx="1025615" cy="765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999EEBB8-67D8-C54E-874D-218CA0863741}"/>
              </a:ext>
            </a:extLst>
          </p:cNvPr>
          <p:cNvSpPr/>
          <p:nvPr/>
        </p:nvSpPr>
        <p:spPr>
          <a:xfrm rot="256536">
            <a:off x="5122619" y="4875861"/>
            <a:ext cx="765737" cy="261610"/>
          </a:xfrm>
          <a:prstGeom prst="rect">
            <a:avLst/>
          </a:prstGeom>
          <a:scene3d>
            <a:camera prst="isometricTopUp">
              <a:rot lat="19800000" lon="18883146" rev="3609745"/>
            </a:camera>
            <a:lightRig rig="threePt" dir="t">
              <a:rot lat="0" lon="0" rev="5400000"/>
            </a:lightRig>
          </a:scene3d>
          <a:sp3d/>
        </p:spPr>
        <p:txBody>
          <a:bodyPr wrap="square">
            <a:spAutoFit/>
          </a:bodyPr>
          <a:lstStyle/>
          <a:p>
            <a:pPr algn="ctr"/>
            <a:r>
              <a:rPr lang="de-DE" sz="1100">
                <a:solidFill>
                  <a:srgbClr val="C00000"/>
                </a:solidFill>
              </a:rPr>
              <a:t>Sport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1F0359F-CECA-9243-8AFA-8A692B05AB85}"/>
              </a:ext>
            </a:extLst>
          </p:cNvPr>
          <p:cNvSpPr/>
          <p:nvPr/>
        </p:nvSpPr>
        <p:spPr>
          <a:xfrm rot="20477013">
            <a:off x="4847815" y="4581322"/>
            <a:ext cx="940977" cy="261610"/>
          </a:xfrm>
          <a:prstGeom prst="rect">
            <a:avLst/>
          </a:prstGeom>
          <a:scene3d>
            <a:camera prst="isometricOffAxis1Right">
              <a:rot lat="1200000" lon="19800000" rev="180000"/>
            </a:camera>
            <a:lightRig rig="threePt" dir="t"/>
          </a:scene3d>
        </p:spPr>
        <p:txBody>
          <a:bodyPr wrap="square">
            <a:spAutoFit/>
          </a:bodyPr>
          <a:lstStyle/>
          <a:p>
            <a:pPr algn="ctr"/>
            <a:r>
              <a:rPr lang="de-DE" sz="1100">
                <a:solidFill>
                  <a:srgbClr val="C00000"/>
                </a:solidFill>
              </a:rPr>
              <a:t>Action</a:t>
            </a:r>
            <a:endParaRPr lang="de-DE" sz="14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475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EAB6-127A-254D-B707-3629D15F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3600" b="1">
                <a:solidFill>
                  <a:srgbClr val="E30D3C"/>
                </a:solidFill>
                <a:latin typeface="Corbel"/>
                <a:ea typeface="Yu Gothic"/>
              </a:rPr>
              <a:t>Team</a:t>
            </a:r>
            <a:endParaRPr lang="en-DE" sz="3600" b="1">
              <a:solidFill>
                <a:srgbClr val="E30D3C"/>
              </a:solidFill>
            </a:endParaRPr>
          </a:p>
        </p:txBody>
      </p:sp>
      <p:pic>
        <p:nvPicPr>
          <p:cNvPr id="19458" name="Picture 2" descr="Kay Erik Jenß">
            <a:extLst>
              <a:ext uri="{FF2B5EF4-FFF2-40B4-BE49-F238E27FC236}">
                <a16:creationId xmlns:a16="http://schemas.microsoft.com/office/drawing/2014/main" id="{4620382E-0204-0A4D-B292-3C631ED701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2532" y="1444058"/>
            <a:ext cx="2376000" cy="237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AE180F6-E887-F544-97E3-549E49F298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799" r="15799"/>
          <a:stretch/>
        </p:blipFill>
        <p:spPr>
          <a:xfrm>
            <a:off x="3482177" y="1444058"/>
            <a:ext cx="2376000" cy="2376000"/>
          </a:xfrm>
          <a:prstGeom prst="ellipse">
            <a:avLst/>
          </a:prstGeom>
        </p:spPr>
      </p:pic>
      <p:pic>
        <p:nvPicPr>
          <p:cNvPr id="19460" name="Picture 4" descr="Profilfoto von Alex Rivoire">
            <a:extLst>
              <a:ext uri="{FF2B5EF4-FFF2-40B4-BE49-F238E27FC236}">
                <a16:creationId xmlns:a16="http://schemas.microsoft.com/office/drawing/2014/main" id="{DE34086B-85FE-7348-B6FC-39801C326D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" r="8482" b="8420"/>
          <a:stretch/>
        </p:blipFill>
        <p:spPr bwMode="auto">
          <a:xfrm>
            <a:off x="6261822" y="1444058"/>
            <a:ext cx="2376000" cy="237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46">
            <a:extLst>
              <a:ext uri="{FF2B5EF4-FFF2-40B4-BE49-F238E27FC236}">
                <a16:creationId xmlns:a16="http://schemas.microsoft.com/office/drawing/2014/main" id="{AD1D2E32-7F30-1946-8FC5-73213983D777}"/>
              </a:ext>
            </a:extLst>
          </p:cNvPr>
          <p:cNvSpPr txBox="1"/>
          <p:nvPr/>
        </p:nvSpPr>
        <p:spPr>
          <a:xfrm>
            <a:off x="725506" y="4055859"/>
            <a:ext cx="2330053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b="1">
                <a:latin typeface="Corbel"/>
              </a:rPr>
              <a:t>Kay Erik </a:t>
            </a:r>
            <a:r>
              <a:rPr lang="en-US" sz="2800" b="1" err="1">
                <a:latin typeface="Corbel"/>
              </a:rPr>
              <a:t>Jenß</a:t>
            </a:r>
            <a:endParaRPr lang="en-US" sz="2800" b="1">
              <a:latin typeface="Corbel"/>
            </a:endParaRPr>
          </a:p>
        </p:txBody>
      </p:sp>
      <p:sp>
        <p:nvSpPr>
          <p:cNvPr id="19" name="TextBox 46">
            <a:extLst>
              <a:ext uri="{FF2B5EF4-FFF2-40B4-BE49-F238E27FC236}">
                <a16:creationId xmlns:a16="http://schemas.microsoft.com/office/drawing/2014/main" id="{F5A12632-FA1E-ED45-A721-18E064EEF3B7}"/>
              </a:ext>
            </a:extLst>
          </p:cNvPr>
          <p:cNvSpPr txBox="1"/>
          <p:nvPr/>
        </p:nvSpPr>
        <p:spPr>
          <a:xfrm>
            <a:off x="3553820" y="4055859"/>
            <a:ext cx="2232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latin typeface="Corbel" panose="020B0503020204020204" pitchFamily="34" charset="0"/>
              </a:rPr>
              <a:t>Yves </a:t>
            </a:r>
            <a:r>
              <a:rPr lang="en-US" sz="2800" b="1" err="1">
                <a:latin typeface="Corbel" panose="020B0503020204020204" pitchFamily="34" charset="0"/>
              </a:rPr>
              <a:t>Görgen</a:t>
            </a:r>
            <a:endParaRPr lang="en-US" sz="2800" b="1">
              <a:latin typeface="Corbel" panose="020B0503020204020204" pitchFamily="34" charset="0"/>
            </a:endParaRPr>
          </a:p>
        </p:txBody>
      </p:sp>
      <p:sp>
        <p:nvSpPr>
          <p:cNvPr id="20" name="TextBox 46">
            <a:extLst>
              <a:ext uri="{FF2B5EF4-FFF2-40B4-BE49-F238E27FC236}">
                <a16:creationId xmlns:a16="http://schemas.microsoft.com/office/drawing/2014/main" id="{9C7565A0-D343-184B-8E62-D41D23D2FBF2}"/>
              </a:ext>
            </a:extLst>
          </p:cNvPr>
          <p:cNvSpPr txBox="1"/>
          <p:nvPr/>
        </p:nvSpPr>
        <p:spPr>
          <a:xfrm>
            <a:off x="6407157" y="4055859"/>
            <a:ext cx="20853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latin typeface="Corbel" panose="020B0503020204020204" pitchFamily="34" charset="0"/>
              </a:rPr>
              <a:t>Alex </a:t>
            </a:r>
            <a:r>
              <a:rPr lang="en-US" sz="2800" b="1" err="1">
                <a:latin typeface="Corbel" panose="020B0503020204020204" pitchFamily="34" charset="0"/>
              </a:rPr>
              <a:t>Rivoire</a:t>
            </a:r>
            <a:endParaRPr lang="en-US" sz="2800" b="1">
              <a:latin typeface="Corbel" panose="020B0503020204020204" pitchFamily="34" charset="0"/>
            </a:endParaRPr>
          </a:p>
        </p:txBody>
      </p:sp>
      <p:sp>
        <p:nvSpPr>
          <p:cNvPr id="22" name="TextBox 46">
            <a:extLst>
              <a:ext uri="{FF2B5EF4-FFF2-40B4-BE49-F238E27FC236}">
                <a16:creationId xmlns:a16="http://schemas.microsoft.com/office/drawing/2014/main" id="{40DBE0CD-2178-A445-A9D4-12A900550FC4}"/>
              </a:ext>
            </a:extLst>
          </p:cNvPr>
          <p:cNvSpPr txBox="1"/>
          <p:nvPr/>
        </p:nvSpPr>
        <p:spPr>
          <a:xfrm>
            <a:off x="810532" y="4668070"/>
            <a:ext cx="2160000" cy="43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>
                <a:latin typeface="Corbel" panose="020B0503020204020204" pitchFamily="34" charset="0"/>
              </a:rPr>
              <a:t>Product &amp; Technology </a:t>
            </a:r>
          </a:p>
        </p:txBody>
      </p:sp>
      <p:sp>
        <p:nvSpPr>
          <p:cNvPr id="23" name="TextBox 46">
            <a:extLst>
              <a:ext uri="{FF2B5EF4-FFF2-40B4-BE49-F238E27FC236}">
                <a16:creationId xmlns:a16="http://schemas.microsoft.com/office/drawing/2014/main" id="{94C95F2B-0BE7-D849-940A-52F774BC6938}"/>
              </a:ext>
            </a:extLst>
          </p:cNvPr>
          <p:cNvSpPr txBox="1"/>
          <p:nvPr/>
        </p:nvSpPr>
        <p:spPr>
          <a:xfrm>
            <a:off x="3590177" y="4668070"/>
            <a:ext cx="2160000" cy="43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>
                <a:latin typeface="Corbel" panose="020B0503020204020204" pitchFamily="34" charset="0"/>
              </a:rPr>
              <a:t>Business Development</a:t>
            </a:r>
          </a:p>
        </p:txBody>
      </p:sp>
      <p:sp>
        <p:nvSpPr>
          <p:cNvPr id="24" name="TextBox 46">
            <a:extLst>
              <a:ext uri="{FF2B5EF4-FFF2-40B4-BE49-F238E27FC236}">
                <a16:creationId xmlns:a16="http://schemas.microsoft.com/office/drawing/2014/main" id="{BE57B15A-B2D8-2340-AA36-B50B1FC1AE10}"/>
              </a:ext>
            </a:extLst>
          </p:cNvPr>
          <p:cNvSpPr txBox="1"/>
          <p:nvPr/>
        </p:nvSpPr>
        <p:spPr>
          <a:xfrm>
            <a:off x="6369822" y="4668070"/>
            <a:ext cx="2160000" cy="43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>
                <a:latin typeface="Corbel" panose="020B0503020204020204" pitchFamily="34" charset="0"/>
              </a:rPr>
              <a:t>Operations</a:t>
            </a:r>
          </a:p>
        </p:txBody>
      </p:sp>
      <p:sp>
        <p:nvSpPr>
          <p:cNvPr id="25" name="TextBox 46">
            <a:extLst>
              <a:ext uri="{FF2B5EF4-FFF2-40B4-BE49-F238E27FC236}">
                <a16:creationId xmlns:a16="http://schemas.microsoft.com/office/drawing/2014/main" id="{DC7DEFE7-B057-4E44-82F2-534E045E88E3}"/>
              </a:ext>
            </a:extLst>
          </p:cNvPr>
          <p:cNvSpPr txBox="1"/>
          <p:nvPr/>
        </p:nvSpPr>
        <p:spPr>
          <a:xfrm>
            <a:off x="9149468" y="4668070"/>
            <a:ext cx="2160000" cy="43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>
                <a:latin typeface="Corbel" panose="020B0503020204020204" pitchFamily="34" charset="0"/>
              </a:rPr>
              <a:t>Marketing</a:t>
            </a:r>
          </a:p>
        </p:txBody>
      </p:sp>
      <p:pic>
        <p:nvPicPr>
          <p:cNvPr id="26" name="Picture 2" descr="Timothy Sulzer">
            <a:extLst>
              <a:ext uri="{FF2B5EF4-FFF2-40B4-BE49-F238E27FC236}">
                <a16:creationId xmlns:a16="http://schemas.microsoft.com/office/drawing/2014/main" id="{D4E3784B-084E-D547-B874-ABB001B598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005188" y="1444058"/>
            <a:ext cx="2540000" cy="254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46">
            <a:extLst>
              <a:ext uri="{FF2B5EF4-FFF2-40B4-BE49-F238E27FC236}">
                <a16:creationId xmlns:a16="http://schemas.microsoft.com/office/drawing/2014/main" id="{69BC97B3-6BC5-794C-82DB-00344653F2D0}"/>
              </a:ext>
            </a:extLst>
          </p:cNvPr>
          <p:cNvSpPr txBox="1"/>
          <p:nvPr/>
        </p:nvSpPr>
        <p:spPr>
          <a:xfrm>
            <a:off x="9101001" y="4055859"/>
            <a:ext cx="23483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latin typeface="Corbel" panose="020B0503020204020204" pitchFamily="34" charset="0"/>
              </a:rPr>
              <a:t>Tim Sulzer</a:t>
            </a:r>
          </a:p>
        </p:txBody>
      </p:sp>
    </p:spTree>
    <p:extLst>
      <p:ext uri="{BB962C8B-B14F-4D97-AF65-F5344CB8AC3E}">
        <p14:creationId xmlns:p14="http://schemas.microsoft.com/office/powerpoint/2010/main" val="3954075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CDB3D2-9323-704F-8B89-044215ED6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Backup</a:t>
            </a:r>
          </a:p>
        </p:txBody>
      </p:sp>
      <p:sp>
        <p:nvSpPr>
          <p:cNvPr id="4" name="TextBox 46">
            <a:extLst>
              <a:ext uri="{FF2B5EF4-FFF2-40B4-BE49-F238E27FC236}">
                <a16:creationId xmlns:a16="http://schemas.microsoft.com/office/drawing/2014/main" id="{038B4DBF-8D96-164A-93F8-D1A4826802E0}"/>
              </a:ext>
            </a:extLst>
          </p:cNvPr>
          <p:cNvSpPr txBox="1"/>
          <p:nvPr/>
        </p:nvSpPr>
        <p:spPr>
          <a:xfrm>
            <a:off x="6848264" y="1427305"/>
            <a:ext cx="4169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latin typeface="Corbel" panose="020B0503020204020204" pitchFamily="34" charset="0"/>
              </a:rPr>
              <a:t>Recommendation engine</a:t>
            </a:r>
          </a:p>
        </p:txBody>
      </p:sp>
      <p:sp>
        <p:nvSpPr>
          <p:cNvPr id="5" name="TextBox 46">
            <a:extLst>
              <a:ext uri="{FF2B5EF4-FFF2-40B4-BE49-F238E27FC236}">
                <a16:creationId xmlns:a16="http://schemas.microsoft.com/office/drawing/2014/main" id="{F0583A83-AE12-E34F-A864-D6029F8F8B67}"/>
              </a:ext>
            </a:extLst>
          </p:cNvPr>
          <p:cNvSpPr txBox="1"/>
          <p:nvPr/>
        </p:nvSpPr>
        <p:spPr>
          <a:xfrm>
            <a:off x="463296" y="1399984"/>
            <a:ext cx="49281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latin typeface="Corbel" panose="020B0503020204020204" pitchFamily="34" charset="0"/>
              </a:rPr>
              <a:t>Recommendation Demo 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8C937500-6558-074A-B446-57A9A0D1A010}"/>
              </a:ext>
            </a:extLst>
          </p:cNvPr>
          <p:cNvCxnSpPr>
            <a:cxnSpLocks/>
          </p:cNvCxnSpPr>
          <p:nvPr/>
        </p:nvCxnSpPr>
        <p:spPr>
          <a:xfrm>
            <a:off x="546423" y="1950525"/>
            <a:ext cx="5664372" cy="0"/>
          </a:xfrm>
          <a:prstGeom prst="line">
            <a:avLst/>
          </a:prstGeom>
          <a:ln w="12700">
            <a:solidFill>
              <a:srgbClr val="E30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E2B5A6C5-6C1D-9A4E-8B3A-39014DA4D73E}"/>
              </a:ext>
            </a:extLst>
          </p:cNvPr>
          <p:cNvCxnSpPr>
            <a:cxnSpLocks/>
          </p:cNvCxnSpPr>
          <p:nvPr/>
        </p:nvCxnSpPr>
        <p:spPr>
          <a:xfrm>
            <a:off x="7041100" y="1950525"/>
            <a:ext cx="4240458" cy="0"/>
          </a:xfrm>
          <a:prstGeom prst="line">
            <a:avLst/>
          </a:prstGeom>
          <a:ln w="12700">
            <a:solidFill>
              <a:srgbClr val="E30D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46">
            <a:extLst>
              <a:ext uri="{FF2B5EF4-FFF2-40B4-BE49-F238E27FC236}">
                <a16:creationId xmlns:a16="http://schemas.microsoft.com/office/drawing/2014/main" id="{41E11816-B28F-984C-A807-F6492ECBDB05}"/>
              </a:ext>
            </a:extLst>
          </p:cNvPr>
          <p:cNvSpPr txBox="1"/>
          <p:nvPr/>
        </p:nvSpPr>
        <p:spPr>
          <a:xfrm>
            <a:off x="7041100" y="2107875"/>
            <a:ext cx="424045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Corbel" panose="020B0503020204020204" pitchFamily="34" charset="0"/>
              </a:rPr>
              <a:t>Our engine is based on the open-source platform from </a:t>
            </a:r>
            <a:r>
              <a:rPr lang="en-US" err="1">
                <a:latin typeface="Corbel" panose="020B0503020204020204" pitchFamily="34" charset="0"/>
              </a:rPr>
              <a:t>Metarank</a:t>
            </a:r>
            <a:endParaRPr lang="en-US">
              <a:latin typeface="Corbel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>
                <a:latin typeface="Corbel" panose="020B0503020204020204" pitchFamily="34" charset="0"/>
              </a:rPr>
              <a:t>Metarank</a:t>
            </a:r>
            <a:r>
              <a:rPr lang="en-US">
                <a:latin typeface="Corbel" panose="020B0503020204020204" pitchFamily="34" charset="0"/>
              </a:rPr>
              <a:t> is a pre-trained recommendation engine which can be accessed in real-time to personalize the lis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Corbel" panose="020B0503020204020204" pitchFamily="34" charset="0"/>
              </a:rPr>
              <a:t>Integration: Define features with simple YAML configuration file and send historical events and metadata via a JSON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Corbel" panose="020B0503020204020204" pitchFamily="34" charset="0"/>
              </a:rPr>
              <a:t>Demo: </a:t>
            </a:r>
            <a:r>
              <a:rPr lang="de-DE">
                <a:hlinkClick r:id="rId4"/>
              </a:rPr>
              <a:t>https://demo.metarank.ai</a:t>
            </a: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Corbel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Corbel" panose="020B0503020204020204" pitchFamily="34" charset="0"/>
            </a:endParaRPr>
          </a:p>
        </p:txBody>
      </p:sp>
      <p:pic>
        <p:nvPicPr>
          <p:cNvPr id="3" name="Cube_Demo_With_Recommendations" descr="Cube_Demo_With_Recommendations">
            <a:hlinkClick r:id="" action="ppaction://media"/>
            <a:extLst>
              <a:ext uri="{FF2B5EF4-FFF2-40B4-BE49-F238E27FC236}">
                <a16:creationId xmlns:a16="http://schemas.microsoft.com/office/drawing/2014/main" id="{B6B5412D-7CD4-C147-9150-6A43952631C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63296" y="2297429"/>
            <a:ext cx="5918764" cy="3329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585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15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PRESENTATIONDONOTDELETE" val="&lt;?xml version=&quot;1.0&quot; encoding=&quot;UTF-16&quot; standalone=&quot;yes&quot;?&gt;&lt;root reqver=&quot;27037&quot;&gt;&lt;version val=&quot;3088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08093804803000903547E+00&quot;&gt;&lt;m_msothmcolidx val=&quot;0&quot;/&gt;&lt;m_rgb r=&quot;05&quot; g=&quot;AB&quot; b=&quot;B4&quot;/&gt;&lt;/elem&gt;&lt;elem m_fUsage=&quot;3.56821023429699923923E+00&quot;&gt;&lt;m_msothmcolidx val=&quot;0&quot;/&gt;&lt;m_rgb r=&quot;F8&quot; g=&quot;B4&quot; b=&quot;79&quot;/&gt;&lt;/elem&gt;&lt;elem m_fUsage=&quot;6.82435974022018720930E-01&quot;&gt;&lt;m_msothmcolidx val=&quot;0&quot;/&gt;&lt;m_rgb r=&quot;FB&quot; g=&quot;CD&quot; b=&quot;A5&quot;/&gt;&lt;/elem&gt;&lt;elem m_fUsage=&quot;3.59384199824647809773E-01&quot;&gt;&lt;m_msothmcolidx val=&quot;0&quot;/&gt;&lt;m_rgb r=&quot;F2&quot; g=&quot;F3&quot; b=&quot;F3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IX69rm8TLlLPfJNT7V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.7LufMmSXD7muqXI6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JWRbAyOY4cgIh2sL63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d.hzO1Ici5PoZJ1nrf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lUorqnG1oRSoBl30L0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W6utQA3W2WNKMfQml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DkcnChGqJQoAcjsSQn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jbNW3PsEkOFFm.enW8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jbNW3PsEkOFFm.enW8HQ"/>
</p:tagLst>
</file>

<file path=ppt/theme/theme1.xml><?xml version="1.0" encoding="utf-8"?>
<a:theme xmlns:a="http://schemas.openxmlformats.org/drawingml/2006/main" name="KONE">
  <a:themeElements>
    <a:clrScheme name="KONE">
      <a:dk1>
        <a:srgbClr val="000000"/>
      </a:dk1>
      <a:lt1>
        <a:srgbClr val="FFFFFF"/>
      </a:lt1>
      <a:dk2>
        <a:srgbClr val="A29FA4"/>
      </a:dk2>
      <a:lt2>
        <a:srgbClr val="E7E6E6"/>
      </a:lt2>
      <a:accent1>
        <a:srgbClr val="0070B8"/>
      </a:accent1>
      <a:accent2>
        <a:srgbClr val="85C2E6"/>
      </a:accent2>
      <a:accent3>
        <a:srgbClr val="EEB720"/>
      </a:accent3>
      <a:accent4>
        <a:srgbClr val="FADB87"/>
      </a:accent4>
      <a:accent5>
        <a:srgbClr val="FFB13A"/>
      </a:accent5>
      <a:accent6>
        <a:srgbClr val="DA0000"/>
      </a:accent6>
      <a:hlink>
        <a:srgbClr val="F48220"/>
      </a:hlink>
      <a:folHlink>
        <a:srgbClr val="F4811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C64B44A42FF914EA898666F5F702026" ma:contentTypeVersion="13" ma:contentTypeDescription="Ein neues Dokument erstellen." ma:contentTypeScope="" ma:versionID="244131e1fd8b7c6919ece250760d8887">
  <xsd:schema xmlns:xsd="http://www.w3.org/2001/XMLSchema" xmlns:xs="http://www.w3.org/2001/XMLSchema" xmlns:p="http://schemas.microsoft.com/office/2006/metadata/properties" xmlns:ns3="b58c3ede-7be5-4201-b3b2-c98bca00c32f" xmlns:ns4="dfedf9e4-44ce-4610-a2c2-da1d01a01cd3" targetNamespace="http://schemas.microsoft.com/office/2006/metadata/properties" ma:root="true" ma:fieldsID="21ead063d4dd74b2031fea28a7502824" ns3:_="" ns4:_="">
    <xsd:import namespace="b58c3ede-7be5-4201-b3b2-c98bca00c32f"/>
    <xsd:import namespace="dfedf9e4-44ce-4610-a2c2-da1d01a01cd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c3ede-7be5-4201-b3b2-c98bca00c3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edf9e4-44ce-4610-a2c2-da1d01a01cd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5B473A4-0FA1-4592-AD6A-E50B34C762F0}">
  <ds:schemaRefs>
    <ds:schemaRef ds:uri="b58c3ede-7be5-4201-b3b2-c98bca00c32f"/>
    <ds:schemaRef ds:uri="dfedf9e4-44ce-4610-a2c2-da1d01a01c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10805B7-26DF-4FC6-8953-198D70516C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E8D903-B27B-4EC3-BADE-EB3AF64F8652}">
  <ds:schemaRefs>
    <ds:schemaRef ds:uri="b58c3ede-7be5-4201-b3b2-c98bca00c32f"/>
    <ds:schemaRef ds:uri="dfedf9e4-44ce-4610-a2c2-da1d01a01c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9</Slides>
  <Notes>8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KONE</vt:lpstr>
      <vt:lpstr>SMARTCUBE “Your Personalized TV Experience”</vt:lpstr>
      <vt:lpstr>Problem</vt:lpstr>
      <vt:lpstr>Solution</vt:lpstr>
      <vt:lpstr>Product Use Case</vt:lpstr>
      <vt:lpstr>Product Technology </vt:lpstr>
      <vt:lpstr>Market Validation</vt:lpstr>
      <vt:lpstr>Outlook potential</vt:lpstr>
      <vt:lpstr>Team</vt:lpstr>
      <vt:lpstr>Backu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e My</dc:creator>
  <cp:revision>1</cp:revision>
  <cp:lastPrinted>2021-03-29T09:53:53Z</cp:lastPrinted>
  <dcterms:created xsi:type="dcterms:W3CDTF">2018-11-01T08:07:17Z</dcterms:created>
  <dcterms:modified xsi:type="dcterms:W3CDTF">2022-03-25T08:2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64B44A42FF914EA898666F5F702026</vt:lpwstr>
  </property>
</Properties>
</file>